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51"/>
  </p:notesMasterIdLst>
  <p:handoutMasterIdLst>
    <p:handoutMasterId r:id="rId52"/>
  </p:handoutMasterIdLst>
  <p:sldIdLst>
    <p:sldId id="257" r:id="rId5"/>
    <p:sldId id="331" r:id="rId6"/>
    <p:sldId id="332" r:id="rId7"/>
    <p:sldId id="335" r:id="rId8"/>
    <p:sldId id="333" r:id="rId9"/>
    <p:sldId id="334" r:id="rId10"/>
    <p:sldId id="342" r:id="rId11"/>
    <p:sldId id="336" r:id="rId12"/>
    <p:sldId id="337" r:id="rId13"/>
    <p:sldId id="338" r:id="rId14"/>
    <p:sldId id="340" r:id="rId15"/>
    <p:sldId id="339" r:id="rId16"/>
    <p:sldId id="341" r:id="rId17"/>
    <p:sldId id="305" r:id="rId18"/>
    <p:sldId id="330" r:id="rId19"/>
    <p:sldId id="304" r:id="rId20"/>
    <p:sldId id="320" r:id="rId21"/>
    <p:sldId id="306" r:id="rId22"/>
    <p:sldId id="307" r:id="rId23"/>
    <p:sldId id="310" r:id="rId24"/>
    <p:sldId id="291" r:id="rId25"/>
    <p:sldId id="317" r:id="rId26"/>
    <p:sldId id="311" r:id="rId27"/>
    <p:sldId id="312" r:id="rId28"/>
    <p:sldId id="324" r:id="rId29"/>
    <p:sldId id="323" r:id="rId30"/>
    <p:sldId id="292" r:id="rId31"/>
    <p:sldId id="293" r:id="rId32"/>
    <p:sldId id="313" r:id="rId33"/>
    <p:sldId id="294" r:id="rId34"/>
    <p:sldId id="296" r:id="rId35"/>
    <p:sldId id="314" r:id="rId36"/>
    <p:sldId id="325" r:id="rId37"/>
    <p:sldId id="297" r:id="rId38"/>
    <p:sldId id="322" r:id="rId39"/>
    <p:sldId id="315" r:id="rId40"/>
    <p:sldId id="298" r:id="rId41"/>
    <p:sldId id="316" r:id="rId42"/>
    <p:sldId id="299" r:id="rId43"/>
    <p:sldId id="309" r:id="rId44"/>
    <p:sldId id="288" r:id="rId45"/>
    <p:sldId id="290" r:id="rId46"/>
    <p:sldId id="302" r:id="rId47"/>
    <p:sldId id="329" r:id="rId48"/>
    <p:sldId id="326" r:id="rId49"/>
    <p:sldId id="327" r:id="rId5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ulo" id="{AD00534D-8852-414E-B878-F5AD473D6B80}">
          <p14:sldIdLst>
            <p14:sldId id="257"/>
          </p14:sldIdLst>
        </p14:section>
        <p14:section name="Proyectos" id="{CE7A5BF4-9AAA-4427-A551-0FFEAFA9469D}">
          <p14:sldIdLst>
            <p14:sldId id="331"/>
            <p14:sldId id="332"/>
            <p14:sldId id="335"/>
            <p14:sldId id="333"/>
            <p14:sldId id="334"/>
            <p14:sldId id="342"/>
            <p14:sldId id="336"/>
            <p14:sldId id="337"/>
            <p14:sldId id="338"/>
            <p14:sldId id="340"/>
            <p14:sldId id="339"/>
            <p14:sldId id="341"/>
          </p14:sldIdLst>
        </p14:section>
        <p14:section name="Iconos" id="{55C4A5C3-1DEB-45D5-B583-2A74EAC7F5D3}">
          <p14:sldIdLst>
            <p14:sldId id="305"/>
            <p14:sldId id="330"/>
            <p14:sldId id="304"/>
            <p14:sldId id="320"/>
            <p14:sldId id="306"/>
            <p14:sldId id="307"/>
            <p14:sldId id="310"/>
            <p14:sldId id="291"/>
            <p14:sldId id="317"/>
            <p14:sldId id="311"/>
            <p14:sldId id="312"/>
            <p14:sldId id="324"/>
            <p14:sldId id="323"/>
            <p14:sldId id="292"/>
            <p14:sldId id="293"/>
            <p14:sldId id="313"/>
            <p14:sldId id="294"/>
            <p14:sldId id="296"/>
            <p14:sldId id="314"/>
            <p14:sldId id="325"/>
            <p14:sldId id="297"/>
            <p14:sldId id="322"/>
            <p14:sldId id="315"/>
            <p14:sldId id="298"/>
            <p14:sldId id="316"/>
            <p14:sldId id="299"/>
            <p14:sldId id="309"/>
            <p14:sldId id="288"/>
            <p14:sldId id="290"/>
            <p14:sldId id="302"/>
            <p14:sldId id="329"/>
            <p14:sldId id="326"/>
            <p14:sldId id="32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7CDA497-89D4-7A1A-63AB-E5F66785B4DA}" name="Soares, Pedro J" initials="PS" userId="S::pedro.soares@ciriontechnologies.com::7d06cb85-3714-40df-8e2f-b3642f549b5f" providerId="AD"/>
  <p188:author id="{E88EC09A-81C3-E358-0323-C3CB7C098693}" name="Moraes, Rubens" initials="MR" userId="S::rubens.moraes@ciriontechnologies.com::90623859-f83d-4f0d-a635-3ff0f83120f0" providerId="AD"/>
  <p188:author id="{5E110EC4-730D-3C6B-D2B8-FDC87C7707B7}" name="Voloi Borges" initials="VB" userId="S::voloi.borges@ciriontechnologies.com::6ca9b507-887a-44a7-a779-c024ed686d28" providerId="AD"/>
  <p188:author id="{AF14B3F6-EAE7-FBA5-9F56-ACFA261AF34C}" name="Vasquez, Elsa" initials="" userId="S::elsa.vasquez@ciriontechnologies.com::32fb0393-16da-4142-a177-f84031d30ec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15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18DACD1-5301-4F62-8E7E-26646DCD2DD9}" v="77" dt="2024-04-29T15:52:56.31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EC20E35-A176-4012-BC5E-935CFFF8708E}" styleName="Estilo Mé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presProps" Target="presProps.xml"/><Relationship Id="rId58" Type="http://schemas.microsoft.com/office/2018/10/relationships/authors" Target="authors.xml"/><Relationship Id="rId5" Type="http://schemas.openxmlformats.org/officeDocument/2006/relationships/slide" Target="slides/slide1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tableStyles" Target="tableStyles.xml"/><Relationship Id="rId8" Type="http://schemas.openxmlformats.org/officeDocument/2006/relationships/slide" Target="slides/slide4.xml"/><Relationship Id="rId51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microsoft.com/office/2015/10/relationships/revisionInfo" Target="revisionInfo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>
            <a:extLst>
              <a:ext uri="{FF2B5EF4-FFF2-40B4-BE49-F238E27FC236}">
                <a16:creationId xmlns:a16="http://schemas.microsoft.com/office/drawing/2014/main" id="{8CDF65AA-0363-94ED-7A11-841E23C6DEF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6FF27CE9-B018-15F7-6563-F6EBD1F05BB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B6EFDB2-F7F2-4EE1-956F-B83E29D87E38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F1127DBB-1B98-1198-3A09-BDF06F1BD8D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337502D3-AF71-9696-14A4-26FE577F5B1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CB3816D-5FEF-49CF-B6B8-F897D5C4CB1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174329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5EA51B6-A59E-4790-94A5-1D4EFD471058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0B0F7B-8F4F-4149-966B-0F8660FE8451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96619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AA9D73-8889-644D-835E-F000AE9E7F97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04864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AA9D73-8889-644D-835E-F000AE9E7F97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323154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AA9D73-8889-644D-835E-F000AE9E7F97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70079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AA9D73-8889-644D-835E-F000AE9E7F97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8883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AA9D73-8889-644D-835E-F000AE9E7F97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19293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AA9D73-8889-644D-835E-F000AE9E7F97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31030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AA9D73-8889-644D-835E-F000AE9E7F97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40876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AA9D73-8889-644D-835E-F000AE9E7F97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11468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AA9D73-8889-644D-835E-F000AE9E7F97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92085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AA9D73-8889-644D-835E-F000AE9E7F97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27986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AA9D73-8889-644D-835E-F000AE9E7F97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40883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5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533FE61B-B47E-40A7-BBFD-A272E8C702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630"/>
            <a:ext cx="12200627" cy="6880248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A7A3F0A1-5435-44A6-9307-89BE5052D00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26541" y="2777698"/>
            <a:ext cx="9693215" cy="930662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2DA56333-9278-4749-9E8A-C2310EAD6FC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26541" y="3800436"/>
            <a:ext cx="9693215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00A7E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10" name="Line">
            <a:extLst>
              <a:ext uri="{FF2B5EF4-FFF2-40B4-BE49-F238E27FC236}">
                <a16:creationId xmlns:a16="http://schemas.microsoft.com/office/drawing/2014/main" id="{A2EC186A-5790-4BD6-AFEE-DB7F7AB75AC8}"/>
              </a:ext>
            </a:extLst>
          </p:cNvPr>
          <p:cNvSpPr/>
          <p:nvPr userDrawn="1"/>
        </p:nvSpPr>
        <p:spPr>
          <a:xfrm>
            <a:off x="1032703" y="2725010"/>
            <a:ext cx="9900000" cy="1"/>
          </a:xfrm>
          <a:prstGeom prst="line">
            <a:avLst/>
          </a:prstGeom>
          <a:ln>
            <a:solidFill>
              <a:srgbClr val="00A7E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lIns="45718" tIns="45718" rIns="45718" bIns="45718"/>
          <a:lstStyle/>
          <a:p>
            <a:pPr>
              <a:defRPr>
                <a:solidFill>
                  <a:srgbClr val="29B6FF"/>
                </a:solidFill>
              </a:defRPr>
            </a:pPr>
            <a:endParaRPr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D850997B-7DE4-0894-1C60-5E97FB10310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873" y="1338766"/>
            <a:ext cx="2179660" cy="1132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6483437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ersonalizado">
    <p:bg>
      <p:bgPr>
        <a:solidFill>
          <a:srgbClr val="0016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DAFD034F-7089-736D-6ECF-B58280C2BB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39" y="0"/>
            <a:ext cx="12203071" cy="6858779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Image" descr="Image">
            <a:extLst>
              <a:ext uri="{FF2B5EF4-FFF2-40B4-BE49-F238E27FC236}">
                <a16:creationId xmlns:a16="http://schemas.microsoft.com/office/drawing/2014/main" id="{D5CBC5B7-52D8-FD32-7215-A60C8909A83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7153" y="183975"/>
            <a:ext cx="1316418" cy="461515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12" name="Espaço Reservado para Texto 11">
            <a:extLst>
              <a:ext uri="{FF2B5EF4-FFF2-40B4-BE49-F238E27FC236}">
                <a16:creationId xmlns:a16="http://schemas.microsoft.com/office/drawing/2014/main" id="{5E09CE5F-81F9-1909-E365-FADDEBD4FA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52513" y="1630363"/>
            <a:ext cx="10006012" cy="38814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36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endParaRPr lang="pt-BR"/>
          </a:p>
        </p:txBody>
      </p:sp>
      <p:sp>
        <p:nvSpPr>
          <p:cNvPr id="6" name="Espaço Reservado para Número de Slide 6">
            <a:extLst>
              <a:ext uri="{FF2B5EF4-FFF2-40B4-BE49-F238E27FC236}">
                <a16:creationId xmlns:a16="http://schemas.microsoft.com/office/drawing/2014/main" id="{EDE37C64-5B9B-DCE1-560B-63322B7DF7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6161" y="6600357"/>
            <a:ext cx="677577" cy="21451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00A7E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386E9D1-5D70-4295-8BC3-EE421546933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09914700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38B0DFAE-F768-70BB-5A11-817E211E3C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242550"/>
            <a:ext cx="5258345" cy="6615450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7FC84A2-E4FC-946A-FB03-CF2F37EBC8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89772" y="1233577"/>
            <a:ext cx="6257839" cy="5287993"/>
          </a:xfrm>
        </p:spPr>
        <p:txBody>
          <a:bodyPr>
            <a:normAutofit/>
          </a:bodyPr>
          <a:lstStyle>
            <a:lvl1pPr marL="342900" indent="-342900">
              <a:buClr>
                <a:srgbClr val="29B6FF"/>
              </a:buClr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endParaRPr lang="en-US"/>
          </a:p>
        </p:txBody>
      </p:sp>
      <p:sp>
        <p:nvSpPr>
          <p:cNvPr id="12" name="Body Level One…">
            <a:extLst>
              <a:ext uri="{FF2B5EF4-FFF2-40B4-BE49-F238E27FC236}">
                <a16:creationId xmlns:a16="http://schemas.microsoft.com/office/drawing/2014/main" id="{9E93F009-89EA-ADAB-64FB-8EB88FE5B1E5}"/>
              </a:ext>
            </a:extLst>
          </p:cNvPr>
          <p:cNvSpPr txBox="1">
            <a:spLocks noGrp="1"/>
          </p:cNvSpPr>
          <p:nvPr>
            <p:ph type="body" sz="quarter" idx="22"/>
          </p:nvPr>
        </p:nvSpPr>
        <p:spPr>
          <a:xfrm>
            <a:off x="444389" y="2553419"/>
            <a:ext cx="4595260" cy="39681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0" indent="342900">
              <a:buSzTx/>
              <a:buNone/>
              <a:defRPr sz="16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0" indent="685800">
              <a:buSzTx/>
              <a:buNone/>
              <a:defRPr sz="16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0" indent="1028700">
              <a:buSzTx/>
              <a:buNone/>
              <a:defRPr sz="16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0" indent="1371600">
              <a:buSzTx/>
              <a:buNone/>
              <a:defRPr sz="16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/>
          </a:p>
        </p:txBody>
      </p:sp>
      <p:pic>
        <p:nvPicPr>
          <p:cNvPr id="13" name="Image">
            <a:extLst>
              <a:ext uri="{FF2B5EF4-FFF2-40B4-BE49-F238E27FC236}">
                <a16:creationId xmlns:a16="http://schemas.microsoft.com/office/drawing/2014/main" id="{225BB92D-C537-E36C-3BE7-CFEBC5CA793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596"/>
          <a:stretch>
            <a:fillRect/>
          </a:stretch>
        </p:blipFill>
        <p:spPr>
          <a:xfrm>
            <a:off x="10446589" y="155281"/>
            <a:ext cx="1498540" cy="576000"/>
          </a:xfrm>
          <a:prstGeom prst="rect">
            <a:avLst/>
          </a:prstGeom>
          <a:ln w="12700">
            <a:miter lim="400000"/>
          </a:ln>
        </p:spPr>
      </p:pic>
      <p:sp>
        <p:nvSpPr>
          <p:cNvPr id="15" name="Espaço Reservado para Número de Slide 6">
            <a:extLst>
              <a:ext uri="{FF2B5EF4-FFF2-40B4-BE49-F238E27FC236}">
                <a16:creationId xmlns:a16="http://schemas.microsoft.com/office/drawing/2014/main" id="{073C259B-6832-84C6-CFD3-AB54D4E20A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6161" y="6600357"/>
            <a:ext cx="677577" cy="21451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00A7E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386E9D1-5D70-4295-8BC3-EE421546933E}" type="slidenum">
              <a:rPr lang="pt-BR" smtClean="0"/>
              <a:t>‹Nº›</a:t>
            </a:fld>
            <a:endParaRPr lang="pt-BR"/>
          </a:p>
        </p:txBody>
      </p:sp>
      <p:sp>
        <p:nvSpPr>
          <p:cNvPr id="14" name="Título 1">
            <a:extLst>
              <a:ext uri="{FF2B5EF4-FFF2-40B4-BE49-F238E27FC236}">
                <a16:creationId xmlns:a16="http://schemas.microsoft.com/office/drawing/2014/main" id="{C442A0CE-D672-12C2-57E5-88D76FE655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388" y="1671935"/>
            <a:ext cx="4595259" cy="800100"/>
          </a:xfrm>
        </p:spPr>
        <p:txBody>
          <a:bodyPr anchor="ctr">
            <a:noAutofit/>
          </a:bodyPr>
          <a:lstStyle>
            <a:lvl1pPr>
              <a:defRPr sz="2000">
                <a:solidFill>
                  <a:srgbClr val="00A7E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0" name="Espaço Reservado para Texto 2">
            <a:extLst>
              <a:ext uri="{FF2B5EF4-FFF2-40B4-BE49-F238E27FC236}">
                <a16:creationId xmlns:a16="http://schemas.microsoft.com/office/drawing/2014/main" id="{D364506E-ACC5-8CDA-3235-20A2494FB90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44500" y="595313"/>
            <a:ext cx="3656013" cy="995362"/>
          </a:xfrm>
        </p:spPr>
        <p:txBody>
          <a:bodyPr anchor="ctr">
            <a:no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8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4940967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53B9B26-98C6-4FE3-8B36-5311F91A3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344" y="227105"/>
            <a:ext cx="9859992" cy="792000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9F99572C-99DC-45E0-ACEC-FD1CEBD3976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64626" y="1753652"/>
            <a:ext cx="5531373" cy="4690279"/>
          </a:xfrm>
        </p:spPr>
        <p:txBody>
          <a:bodyPr>
            <a:normAutofit/>
          </a:bodyPr>
          <a:lstStyle>
            <a:lvl1pPr>
              <a:defRPr sz="2000">
                <a:solidFill>
                  <a:srgbClr val="54565A"/>
                </a:solidFill>
              </a:defRPr>
            </a:lvl1pPr>
            <a:lvl2pPr>
              <a:defRPr sz="1800">
                <a:solidFill>
                  <a:srgbClr val="54565A"/>
                </a:solidFill>
              </a:defRPr>
            </a:lvl2pPr>
            <a:lvl3pPr>
              <a:defRPr sz="1600">
                <a:solidFill>
                  <a:srgbClr val="54565A"/>
                </a:solidFill>
              </a:defRPr>
            </a:lvl3pPr>
            <a:lvl4pPr>
              <a:defRPr sz="1600">
                <a:solidFill>
                  <a:srgbClr val="54565A"/>
                </a:solidFill>
              </a:defRPr>
            </a:lvl4pPr>
            <a:lvl5pPr>
              <a:defRPr sz="1600">
                <a:solidFill>
                  <a:srgbClr val="54565A"/>
                </a:solidFill>
              </a:defRPr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A79A93F7-84B3-4BF7-9DCA-02F775961C6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4281" y="1753653"/>
            <a:ext cx="5569787" cy="4690278"/>
          </a:xfrm>
        </p:spPr>
        <p:txBody>
          <a:bodyPr>
            <a:normAutofit/>
          </a:bodyPr>
          <a:lstStyle>
            <a:lvl1pPr>
              <a:defRPr sz="2000">
                <a:solidFill>
                  <a:srgbClr val="54565A"/>
                </a:solidFill>
              </a:defRPr>
            </a:lvl1pPr>
            <a:lvl2pPr>
              <a:defRPr sz="1800">
                <a:solidFill>
                  <a:srgbClr val="54565A"/>
                </a:solidFill>
              </a:defRPr>
            </a:lvl2pPr>
            <a:lvl3pPr>
              <a:defRPr sz="1600">
                <a:solidFill>
                  <a:srgbClr val="54565A"/>
                </a:solidFill>
              </a:defRPr>
            </a:lvl3pPr>
            <a:lvl4pPr>
              <a:defRPr sz="1600">
                <a:solidFill>
                  <a:srgbClr val="54565A"/>
                </a:solidFill>
              </a:defRPr>
            </a:lvl4pPr>
            <a:lvl5pPr>
              <a:defRPr sz="1600">
                <a:solidFill>
                  <a:srgbClr val="54565A"/>
                </a:solidFill>
              </a:defRPr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9" name="Espaço Reservado para Conteúdo 11">
            <a:extLst>
              <a:ext uri="{FF2B5EF4-FFF2-40B4-BE49-F238E27FC236}">
                <a16:creationId xmlns:a16="http://schemas.microsoft.com/office/drawing/2014/main" id="{20D697D0-E13C-4926-A290-74B23E89D36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69344" y="1146381"/>
            <a:ext cx="11274724" cy="484011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rgbClr val="29B6FF"/>
                </a:solidFill>
              </a:defRPr>
            </a:lvl1pPr>
            <a:lvl2pPr>
              <a:defRPr>
                <a:solidFill>
                  <a:srgbClr val="29B6FF"/>
                </a:solidFill>
              </a:defRPr>
            </a:lvl2pPr>
            <a:lvl3pPr>
              <a:defRPr>
                <a:solidFill>
                  <a:srgbClr val="29B6FF"/>
                </a:solidFill>
              </a:defRPr>
            </a:lvl3pPr>
            <a:lvl4pPr>
              <a:defRPr>
                <a:solidFill>
                  <a:srgbClr val="29B6FF"/>
                </a:solidFill>
              </a:defRPr>
            </a:lvl4pPr>
            <a:lvl5pPr>
              <a:defRPr>
                <a:solidFill>
                  <a:srgbClr val="29B6FF"/>
                </a:solidFill>
              </a:defRPr>
            </a:lvl5pPr>
          </a:lstStyle>
          <a:p>
            <a:pPr lvl="0"/>
            <a:r>
              <a:rPr lang="pt-BR"/>
              <a:t>Clique para editar os estilos de texto Mestre</a:t>
            </a:r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FFFDE18-0EC8-DCDC-8545-6879D6FE35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6161" y="6600357"/>
            <a:ext cx="677577" cy="21451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00A7E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386E9D1-5D70-4295-8BC3-EE421546933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69209295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69E9BFB-16AE-44FF-BFA4-2ED4DA32C7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627" y="230503"/>
            <a:ext cx="9889151" cy="792000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36E5F10F-27C3-48D4-808D-85077720CF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4626" y="1681163"/>
            <a:ext cx="5432949" cy="823912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C399E958-5F8B-41F0-82A8-45C2579D6BF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64626" y="2574083"/>
            <a:ext cx="5432949" cy="3895728"/>
          </a:xfrm>
        </p:spPr>
        <p:txBody>
          <a:bodyPr>
            <a:normAutofit/>
          </a:bodyPr>
          <a:lstStyle>
            <a:lvl1pPr>
              <a:defRPr sz="2400">
                <a:solidFill>
                  <a:srgbClr val="54565A"/>
                </a:solidFill>
              </a:defRPr>
            </a:lvl1pPr>
            <a:lvl2pPr>
              <a:defRPr sz="2000">
                <a:solidFill>
                  <a:srgbClr val="54565A"/>
                </a:solidFill>
              </a:defRPr>
            </a:lvl2pPr>
            <a:lvl3pPr>
              <a:defRPr sz="1800">
                <a:solidFill>
                  <a:srgbClr val="54565A"/>
                </a:solidFill>
              </a:defRPr>
            </a:lvl3pPr>
            <a:lvl4pPr>
              <a:defRPr sz="1600">
                <a:solidFill>
                  <a:srgbClr val="54565A"/>
                </a:solidFill>
              </a:defRPr>
            </a:lvl4pPr>
            <a:lvl5pPr>
              <a:defRPr sz="1600">
                <a:solidFill>
                  <a:srgbClr val="54565A"/>
                </a:solidFill>
              </a:defRPr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2B5D2D20-1453-41DF-9F21-D5DFA769C43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663244" cy="823912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FEF68262-2661-4546-BCF2-C6D507789C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80825" y="2582709"/>
            <a:ext cx="5663243" cy="3887102"/>
          </a:xfrm>
        </p:spPr>
        <p:txBody>
          <a:bodyPr>
            <a:normAutofit/>
          </a:bodyPr>
          <a:lstStyle>
            <a:lvl1pPr>
              <a:defRPr sz="2400">
                <a:solidFill>
                  <a:srgbClr val="54565A"/>
                </a:solidFill>
              </a:defRPr>
            </a:lvl1pPr>
            <a:lvl2pPr>
              <a:defRPr sz="2000">
                <a:solidFill>
                  <a:srgbClr val="54565A"/>
                </a:solidFill>
              </a:defRPr>
            </a:lvl2pPr>
            <a:lvl3pPr>
              <a:defRPr sz="1800">
                <a:solidFill>
                  <a:srgbClr val="54565A"/>
                </a:solidFill>
              </a:defRPr>
            </a:lvl3pPr>
            <a:lvl4pPr>
              <a:defRPr sz="1600">
                <a:solidFill>
                  <a:srgbClr val="54565A"/>
                </a:solidFill>
              </a:defRPr>
            </a:lvl4pPr>
            <a:lvl5pPr>
              <a:defRPr sz="1600">
                <a:solidFill>
                  <a:srgbClr val="54565A"/>
                </a:solidFill>
              </a:defRPr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12" name="Espaço Reservado para Conteúdo 11">
            <a:extLst>
              <a:ext uri="{FF2B5EF4-FFF2-40B4-BE49-F238E27FC236}">
                <a16:creationId xmlns:a16="http://schemas.microsoft.com/office/drawing/2014/main" id="{3FFF7649-CEBF-4FD4-B9FA-F5490E62550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69344" y="1146381"/>
            <a:ext cx="11274724" cy="484011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rgbClr val="00A7E1"/>
                </a:solidFill>
              </a:defRPr>
            </a:lvl1pPr>
            <a:lvl2pPr>
              <a:defRPr>
                <a:solidFill>
                  <a:srgbClr val="29B6FF"/>
                </a:solidFill>
              </a:defRPr>
            </a:lvl2pPr>
            <a:lvl3pPr>
              <a:defRPr>
                <a:solidFill>
                  <a:srgbClr val="29B6FF"/>
                </a:solidFill>
              </a:defRPr>
            </a:lvl3pPr>
            <a:lvl4pPr>
              <a:defRPr>
                <a:solidFill>
                  <a:srgbClr val="29B6FF"/>
                </a:solidFill>
              </a:defRPr>
            </a:lvl4pPr>
            <a:lvl5pPr>
              <a:defRPr>
                <a:solidFill>
                  <a:srgbClr val="29B6FF"/>
                </a:solidFill>
              </a:defRPr>
            </a:lvl5pPr>
          </a:lstStyle>
          <a:p>
            <a:pPr lvl="0"/>
            <a:r>
              <a:rPr lang="pt-BR"/>
              <a:t>Clique para editar os estilos de texto Mestre</a:t>
            </a:r>
          </a:p>
        </p:txBody>
      </p:sp>
      <p:sp>
        <p:nvSpPr>
          <p:cNvPr id="9" name="Espaço Reservado para Número de Slide 6">
            <a:extLst>
              <a:ext uri="{FF2B5EF4-FFF2-40B4-BE49-F238E27FC236}">
                <a16:creationId xmlns:a16="http://schemas.microsoft.com/office/drawing/2014/main" id="{2438F38C-2C0D-E325-E873-49887DA6667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06161" y="6600357"/>
            <a:ext cx="677577" cy="21451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00A7E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386E9D1-5D70-4295-8BC3-EE421546933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65025268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E09C195-B8D1-4076-8AF4-BFADEC9D4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4" name="Espaço Reservado para Número de Slide 6">
            <a:extLst>
              <a:ext uri="{FF2B5EF4-FFF2-40B4-BE49-F238E27FC236}">
                <a16:creationId xmlns:a16="http://schemas.microsoft.com/office/drawing/2014/main" id="{3D034EB6-79BE-0256-6C05-7603B028D2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6161" y="6600357"/>
            <a:ext cx="677577" cy="21451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00A7E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386E9D1-5D70-4295-8BC3-EE421546933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34562849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E09C195-B8D1-4076-8AF4-BFADEC9D4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4" name="Espaço Reservado para Número de Slide 6">
            <a:extLst>
              <a:ext uri="{FF2B5EF4-FFF2-40B4-BE49-F238E27FC236}">
                <a16:creationId xmlns:a16="http://schemas.microsoft.com/office/drawing/2014/main" id="{3D034EB6-79BE-0256-6C05-7603B028D2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6161" y="6600357"/>
            <a:ext cx="677577" cy="21451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00A7E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386E9D1-5D70-4295-8BC3-EE421546933E}" type="slidenum">
              <a:rPr lang="pt-BR" smtClean="0"/>
              <a:t>‹Nº›</a:t>
            </a:fld>
            <a:endParaRPr lang="pt-BR"/>
          </a:p>
        </p:txBody>
      </p:sp>
      <p:sp>
        <p:nvSpPr>
          <p:cNvPr id="7" name="Body Level One…">
            <a:extLst>
              <a:ext uri="{FF2B5EF4-FFF2-40B4-BE49-F238E27FC236}">
                <a16:creationId xmlns:a16="http://schemas.microsoft.com/office/drawing/2014/main" id="{A546CA94-CA50-114C-F852-320809B28940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>
          <a:xfrm>
            <a:off x="569343" y="1854929"/>
            <a:ext cx="11291731" cy="45719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rgbClr val="54565A"/>
                </a:solidFill>
                <a:latin typeface="Arial" pitchFamily="34" charset="0"/>
                <a:cs typeface="Arial" pitchFamily="34" charset="0"/>
              </a:defRPr>
            </a:lvl1pPr>
            <a:lvl2pPr marL="0" indent="342900">
              <a:buSzTx/>
              <a:buNone/>
            </a:lvl2pPr>
            <a:lvl3pPr marL="0" indent="685800">
              <a:buSzTx/>
              <a:buNone/>
            </a:lvl3pPr>
            <a:lvl4pPr marL="0" indent="1028700">
              <a:buSzTx/>
              <a:buNone/>
            </a:lvl4pPr>
            <a:lvl5pPr marL="0" indent="1371600">
              <a:buSzTx/>
              <a:buNone/>
            </a:lvl5pPr>
          </a:lstStyle>
          <a:p>
            <a:pPr lvl="0"/>
            <a:r>
              <a:rPr lang="pt-BR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418661618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E09C195-B8D1-4076-8AF4-BFADEC9D4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4" name="Espaço Reservado para Número de Slide 6">
            <a:extLst>
              <a:ext uri="{FF2B5EF4-FFF2-40B4-BE49-F238E27FC236}">
                <a16:creationId xmlns:a16="http://schemas.microsoft.com/office/drawing/2014/main" id="{3D034EB6-79BE-0256-6C05-7603B028D2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6161" y="6600357"/>
            <a:ext cx="677577" cy="21451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00A7E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386E9D1-5D70-4295-8BC3-EE421546933E}" type="slidenum">
              <a:rPr lang="pt-BR" smtClean="0"/>
              <a:t>‹Nº›</a:t>
            </a:fld>
            <a:endParaRPr lang="pt-BR"/>
          </a:p>
        </p:txBody>
      </p:sp>
      <p:sp>
        <p:nvSpPr>
          <p:cNvPr id="5" name="Espaço Reservado para Conteúdo 11">
            <a:extLst>
              <a:ext uri="{FF2B5EF4-FFF2-40B4-BE49-F238E27FC236}">
                <a16:creationId xmlns:a16="http://schemas.microsoft.com/office/drawing/2014/main" id="{4979C666-50DA-048D-C5B3-3D2FC1FB533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69344" y="1111877"/>
            <a:ext cx="9859990" cy="484011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rgbClr val="29B6FF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rgbClr val="29B6FF"/>
                </a:solidFill>
              </a:defRPr>
            </a:lvl2pPr>
            <a:lvl3pPr>
              <a:defRPr>
                <a:solidFill>
                  <a:srgbClr val="29B6FF"/>
                </a:solidFill>
              </a:defRPr>
            </a:lvl3pPr>
            <a:lvl4pPr>
              <a:defRPr>
                <a:solidFill>
                  <a:srgbClr val="29B6FF"/>
                </a:solidFill>
              </a:defRPr>
            </a:lvl4pPr>
            <a:lvl5pPr>
              <a:defRPr>
                <a:solidFill>
                  <a:srgbClr val="29B6FF"/>
                </a:solidFill>
              </a:defRPr>
            </a:lvl5pPr>
          </a:lstStyle>
          <a:p>
            <a:pPr lvl="0"/>
            <a:r>
              <a:rPr lang="pt-BR"/>
              <a:t>Clique para editar os estilos de texto Mestre</a:t>
            </a:r>
          </a:p>
        </p:txBody>
      </p:sp>
      <p:sp>
        <p:nvSpPr>
          <p:cNvPr id="6" name="Body Level One…">
            <a:extLst>
              <a:ext uri="{FF2B5EF4-FFF2-40B4-BE49-F238E27FC236}">
                <a16:creationId xmlns:a16="http://schemas.microsoft.com/office/drawing/2014/main" id="{D819624F-D822-6F2D-A037-0EAD6DBE068A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>
          <a:xfrm>
            <a:off x="569343" y="1854929"/>
            <a:ext cx="11291731" cy="45719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rgbClr val="54565A"/>
                </a:solidFill>
                <a:latin typeface="Arial" pitchFamily="34" charset="0"/>
                <a:cs typeface="Arial" pitchFamily="34" charset="0"/>
              </a:defRPr>
            </a:lvl1pPr>
            <a:lvl2pPr marL="0" indent="342900">
              <a:buSzTx/>
              <a:buNone/>
            </a:lvl2pPr>
            <a:lvl3pPr marL="0" indent="685800">
              <a:buSzTx/>
              <a:buNone/>
            </a:lvl3pPr>
            <a:lvl4pPr marL="0" indent="1028700">
              <a:buSzTx/>
              <a:buNone/>
            </a:lvl4pPr>
            <a:lvl5pPr marL="0" indent="1371600">
              <a:buSzTx/>
              <a:buNone/>
            </a:lvl5pPr>
          </a:lstStyle>
          <a:p>
            <a:pPr lvl="0"/>
            <a:r>
              <a:rPr lang="pt-BR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3850948340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ody Level One…">
            <a:extLst>
              <a:ext uri="{FF2B5EF4-FFF2-40B4-BE49-F238E27FC236}">
                <a16:creationId xmlns:a16="http://schemas.microsoft.com/office/drawing/2014/main" id="{F1C6B800-7DB1-D5E1-1A0B-74AE0E6C354C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>
          <a:xfrm>
            <a:off x="569344" y="1374547"/>
            <a:ext cx="5011947" cy="465532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0">
                <a:solidFill>
                  <a:srgbClr val="54565A"/>
                </a:solidFill>
                <a:latin typeface="Arial" pitchFamily="34" charset="0"/>
                <a:cs typeface="Arial" pitchFamily="34" charset="0"/>
              </a:defRPr>
            </a:lvl1pPr>
            <a:lvl2pPr marL="0" indent="342900">
              <a:buSzTx/>
              <a:buNone/>
              <a:defRPr sz="1400" b="0">
                <a:solidFill>
                  <a:srgbClr val="54565A"/>
                </a:solidFill>
                <a:latin typeface="Arial" pitchFamily="34" charset="0"/>
                <a:cs typeface="Arial" pitchFamily="34" charset="0"/>
              </a:defRPr>
            </a:lvl2pPr>
            <a:lvl3pPr marL="0" indent="685800">
              <a:buSzTx/>
              <a:buNone/>
              <a:defRPr sz="1400" b="0">
                <a:solidFill>
                  <a:srgbClr val="54565A"/>
                </a:solidFill>
                <a:latin typeface="Arial" pitchFamily="34" charset="0"/>
                <a:cs typeface="Arial" pitchFamily="34" charset="0"/>
              </a:defRPr>
            </a:lvl3pPr>
            <a:lvl4pPr marL="0" indent="1028700">
              <a:buSzTx/>
              <a:buNone/>
              <a:defRPr sz="1400" b="0">
                <a:solidFill>
                  <a:srgbClr val="54565A"/>
                </a:solidFill>
                <a:latin typeface="Arial" pitchFamily="34" charset="0"/>
                <a:cs typeface="Arial" pitchFamily="34" charset="0"/>
              </a:defRPr>
            </a:lvl4pPr>
            <a:lvl5pPr marL="0" indent="1371600">
              <a:buSzTx/>
              <a:buNone/>
              <a:defRPr sz="1400" b="0">
                <a:solidFill>
                  <a:srgbClr val="54565A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endParaRPr/>
          </a:p>
        </p:txBody>
      </p:sp>
      <p:sp>
        <p:nvSpPr>
          <p:cNvPr id="13" name="Título 1">
            <a:extLst>
              <a:ext uri="{FF2B5EF4-FFF2-40B4-BE49-F238E27FC236}">
                <a16:creationId xmlns:a16="http://schemas.microsoft.com/office/drawing/2014/main" id="{EA995B3E-A580-F1C0-43E2-364F973240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344" y="227105"/>
            <a:ext cx="9859992" cy="792000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pic>
        <p:nvPicPr>
          <p:cNvPr id="15" name="Image">
            <a:extLst>
              <a:ext uri="{FF2B5EF4-FFF2-40B4-BE49-F238E27FC236}">
                <a16:creationId xmlns:a16="http://schemas.microsoft.com/office/drawing/2014/main" id="{540470C7-55CC-4B79-B957-6C00A08782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596"/>
          <a:stretch>
            <a:fillRect/>
          </a:stretch>
        </p:blipFill>
        <p:spPr>
          <a:xfrm>
            <a:off x="10446589" y="155281"/>
            <a:ext cx="1498540" cy="576000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Espaço Reservado para Número de Slide 6">
            <a:extLst>
              <a:ext uri="{FF2B5EF4-FFF2-40B4-BE49-F238E27FC236}">
                <a16:creationId xmlns:a16="http://schemas.microsoft.com/office/drawing/2014/main" id="{1DCE0EB9-0869-DC0B-419A-8D2928B309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6161" y="6600357"/>
            <a:ext cx="677577" cy="21451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00A7E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386E9D1-5D70-4295-8BC3-EE421546933E}" type="slidenum">
              <a:rPr lang="pt-BR" smtClean="0"/>
              <a:t>‹Nº›</a:t>
            </a:fld>
            <a:endParaRPr lang="pt-BR"/>
          </a:p>
        </p:txBody>
      </p:sp>
      <p:pic>
        <p:nvPicPr>
          <p:cNvPr id="9" name="Content Placeholder 9" descr="Content Placeholder 9">
            <a:extLst>
              <a:ext uri="{FF2B5EF4-FFF2-40B4-BE49-F238E27FC236}">
                <a16:creationId xmlns:a16="http://schemas.microsoft.com/office/drawing/2014/main" id="{A72B8EDE-9CA3-3919-A415-1FAC36ABEF0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36897" y="1374547"/>
            <a:ext cx="6455103" cy="4655322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Blue-touch.png" descr="Blue-touch.png">
            <a:extLst>
              <a:ext uri="{FF2B5EF4-FFF2-40B4-BE49-F238E27FC236}">
                <a16:creationId xmlns:a16="http://schemas.microsoft.com/office/drawing/2014/main" id="{E2237FC9-4092-10BF-2098-EF36D21D294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43353" y="1382539"/>
            <a:ext cx="3648647" cy="4930509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749813886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1" descr="Picture 11">
            <a:extLst>
              <a:ext uri="{FF2B5EF4-FFF2-40B4-BE49-F238E27FC236}">
                <a16:creationId xmlns:a16="http://schemas.microsoft.com/office/drawing/2014/main" id="{18FBBD4B-51E7-3870-F205-4BCD849C9B8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39" y="-12877"/>
            <a:ext cx="12183280" cy="6870252"/>
          </a:xfrm>
          <a:prstGeom prst="rect">
            <a:avLst/>
          </a:prstGeom>
          <a:ln w="12700">
            <a:miter lim="400000"/>
          </a:ln>
        </p:spPr>
      </p:pic>
      <p:pic>
        <p:nvPicPr>
          <p:cNvPr id="9" name="Blue-touch.png" descr="Blue-touch.png">
            <a:extLst>
              <a:ext uri="{FF2B5EF4-FFF2-40B4-BE49-F238E27FC236}">
                <a16:creationId xmlns:a16="http://schemas.microsoft.com/office/drawing/2014/main" id="{7D24D146-40F9-C178-1F3F-7A70582FC8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9" y="-9923"/>
            <a:ext cx="12192239" cy="6870252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Image">
            <a:extLst>
              <a:ext uri="{FF2B5EF4-FFF2-40B4-BE49-F238E27FC236}">
                <a16:creationId xmlns:a16="http://schemas.microsoft.com/office/drawing/2014/main" id="{67A48963-26B3-CB00-92F0-0042D7C83AE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2804" y="5974997"/>
            <a:ext cx="1516898" cy="659534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Body Level One…">
            <a:extLst>
              <a:ext uri="{FF2B5EF4-FFF2-40B4-BE49-F238E27FC236}">
                <a16:creationId xmlns:a16="http://schemas.microsoft.com/office/drawing/2014/main" id="{4CFBFDC6-DC99-F846-BA9D-20877F7D637A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>
          <a:xfrm>
            <a:off x="569344" y="1210653"/>
            <a:ext cx="11188460" cy="476434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0">
                <a:solidFill>
                  <a:srgbClr val="54565A"/>
                </a:solidFill>
                <a:latin typeface="Arial" pitchFamily="34" charset="0"/>
                <a:cs typeface="Arial" pitchFamily="34" charset="0"/>
              </a:defRPr>
            </a:lvl1pPr>
            <a:lvl2pPr marL="0" indent="342900">
              <a:buSzTx/>
              <a:buNone/>
              <a:defRPr sz="1400" b="0">
                <a:solidFill>
                  <a:srgbClr val="54565A"/>
                </a:solidFill>
                <a:latin typeface="Arial" pitchFamily="34" charset="0"/>
                <a:cs typeface="Arial" pitchFamily="34" charset="0"/>
              </a:defRPr>
            </a:lvl2pPr>
            <a:lvl3pPr marL="0" indent="685800">
              <a:buSzTx/>
              <a:buNone/>
              <a:defRPr sz="1400" b="0">
                <a:solidFill>
                  <a:srgbClr val="54565A"/>
                </a:solidFill>
                <a:latin typeface="Arial" pitchFamily="34" charset="0"/>
                <a:cs typeface="Arial" pitchFamily="34" charset="0"/>
              </a:defRPr>
            </a:lvl3pPr>
            <a:lvl4pPr marL="0" indent="1028700">
              <a:buSzTx/>
              <a:buNone/>
              <a:defRPr sz="1400" b="0">
                <a:solidFill>
                  <a:srgbClr val="54565A"/>
                </a:solidFill>
                <a:latin typeface="Arial" pitchFamily="34" charset="0"/>
                <a:cs typeface="Arial" pitchFamily="34" charset="0"/>
              </a:defRPr>
            </a:lvl4pPr>
            <a:lvl5pPr marL="0" indent="1371600">
              <a:buSzTx/>
              <a:buNone/>
              <a:defRPr sz="1400" b="0">
                <a:solidFill>
                  <a:srgbClr val="54565A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endParaRPr/>
          </a:p>
        </p:txBody>
      </p:sp>
      <p:sp>
        <p:nvSpPr>
          <p:cNvPr id="7" name="Título 1">
            <a:extLst>
              <a:ext uri="{FF2B5EF4-FFF2-40B4-BE49-F238E27FC236}">
                <a16:creationId xmlns:a16="http://schemas.microsoft.com/office/drawing/2014/main" id="{BB60A17A-45C6-4AD8-E426-43DB29E68E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343" y="227105"/>
            <a:ext cx="11188459" cy="792000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3604829242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mag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1">
            <a:extLst>
              <a:ext uri="{FF2B5EF4-FFF2-40B4-BE49-F238E27FC236}">
                <a16:creationId xmlns:a16="http://schemas.microsoft.com/office/drawing/2014/main" id="{2AADC7D3-E8E5-35A7-466D-EB0A86763E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810" y="0"/>
            <a:ext cx="12203619" cy="6864382"/>
          </a:xfrm>
          <a:prstGeom prst="rect">
            <a:avLst/>
          </a:prstGeom>
          <a:ln w="12700">
            <a:miter lim="400000"/>
          </a:ln>
        </p:spPr>
      </p:pic>
      <p:pic>
        <p:nvPicPr>
          <p:cNvPr id="7" name="Blue-touch.png" descr="Blue-touch.png">
            <a:extLst>
              <a:ext uri="{FF2B5EF4-FFF2-40B4-BE49-F238E27FC236}">
                <a16:creationId xmlns:a16="http://schemas.microsoft.com/office/drawing/2014/main" id="{617C33A9-B77F-A865-2434-A74B94E0197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619" y="1"/>
            <a:ext cx="12203619" cy="6864381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Title Text">
            <a:extLst>
              <a:ext uri="{FF2B5EF4-FFF2-40B4-BE49-F238E27FC236}">
                <a16:creationId xmlns:a16="http://schemas.microsoft.com/office/drawing/2014/main" id="{5FFA4D56-6A2E-3B24-872F-5B75FA29BFC7}"/>
              </a:ext>
            </a:extLst>
          </p:cNvPr>
          <p:cNvSpPr txBox="1"/>
          <p:nvPr userDrawn="1"/>
        </p:nvSpPr>
        <p:spPr>
          <a:xfrm>
            <a:off x="405149" y="135148"/>
            <a:ext cx="11381704" cy="82187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p14="http://schemas.microsoft.com/office/powerpoint/2010/main" xmlns:p15="http://schemas.microsoft.com/office/powerpoint/2012/main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45718" tIns="45718" rIns="45718" bIns="45718" anchor="ctr">
            <a:normAutofit/>
          </a:bodyPr>
          <a:lstStyle>
            <a:lvl1pPr marL="0" marR="0" indent="0" algn="l" defTabSz="68580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2800" b="0" i="0" u="none" strike="noStrike" cap="none" spc="-136" baseline="0">
                <a:solidFill>
                  <a:srgbClr val="001689"/>
                </a:solidFill>
                <a:uFillTx/>
                <a:latin typeface="Maven Pro Regular"/>
                <a:ea typeface="Maven Pro Regular"/>
                <a:cs typeface="Maven Pro Regular"/>
                <a:sym typeface="Maven Pro Regular"/>
              </a:defRPr>
            </a:lvl1pPr>
            <a:lvl2pPr marL="0" marR="0" indent="0" algn="l" defTabSz="68580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3600" b="0" i="0" u="none" strike="noStrike" cap="none" spc="-136" baseline="0">
                <a:solidFill>
                  <a:srgbClr val="001689"/>
                </a:solidFill>
                <a:uFillTx/>
                <a:latin typeface="Maven Pro Regular"/>
                <a:ea typeface="Maven Pro Regular"/>
                <a:cs typeface="Maven Pro Regular"/>
                <a:sym typeface="Maven Pro Regular"/>
              </a:defRPr>
            </a:lvl2pPr>
            <a:lvl3pPr marL="0" marR="0" indent="0" algn="l" defTabSz="68580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3600" b="0" i="0" u="none" strike="noStrike" cap="none" spc="-136" baseline="0">
                <a:solidFill>
                  <a:srgbClr val="001689"/>
                </a:solidFill>
                <a:uFillTx/>
                <a:latin typeface="Maven Pro Regular"/>
                <a:ea typeface="Maven Pro Regular"/>
                <a:cs typeface="Maven Pro Regular"/>
                <a:sym typeface="Maven Pro Regular"/>
              </a:defRPr>
            </a:lvl3pPr>
            <a:lvl4pPr marL="0" marR="0" indent="0" algn="l" defTabSz="68580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3600" b="0" i="0" u="none" strike="noStrike" cap="none" spc="-136" baseline="0">
                <a:solidFill>
                  <a:srgbClr val="001689"/>
                </a:solidFill>
                <a:uFillTx/>
                <a:latin typeface="Maven Pro Regular"/>
                <a:ea typeface="Maven Pro Regular"/>
                <a:cs typeface="Maven Pro Regular"/>
                <a:sym typeface="Maven Pro Regular"/>
              </a:defRPr>
            </a:lvl4pPr>
            <a:lvl5pPr marL="0" marR="0" indent="0" algn="l" defTabSz="68580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3600" b="0" i="0" u="none" strike="noStrike" cap="none" spc="-136" baseline="0">
                <a:solidFill>
                  <a:srgbClr val="001689"/>
                </a:solidFill>
                <a:uFillTx/>
                <a:latin typeface="Maven Pro Regular"/>
                <a:ea typeface="Maven Pro Regular"/>
                <a:cs typeface="Maven Pro Regular"/>
                <a:sym typeface="Maven Pro Regular"/>
              </a:defRPr>
            </a:lvl5pPr>
            <a:lvl6pPr marL="0" marR="0" indent="0" algn="l" defTabSz="68580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3600" b="0" i="0" u="none" strike="noStrike" cap="none" spc="-136" baseline="0">
                <a:solidFill>
                  <a:srgbClr val="001689"/>
                </a:solidFill>
                <a:uFillTx/>
                <a:latin typeface="Maven Pro Regular"/>
                <a:ea typeface="Maven Pro Regular"/>
                <a:cs typeface="Maven Pro Regular"/>
                <a:sym typeface="Maven Pro Regular"/>
              </a:defRPr>
            </a:lvl6pPr>
            <a:lvl7pPr marL="0" marR="0" indent="0" algn="l" defTabSz="68580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3600" b="0" i="0" u="none" strike="noStrike" cap="none" spc="-136" baseline="0">
                <a:solidFill>
                  <a:srgbClr val="001689"/>
                </a:solidFill>
                <a:uFillTx/>
                <a:latin typeface="Maven Pro Regular"/>
                <a:ea typeface="Maven Pro Regular"/>
                <a:cs typeface="Maven Pro Regular"/>
                <a:sym typeface="Maven Pro Regular"/>
              </a:defRPr>
            </a:lvl7pPr>
            <a:lvl8pPr marL="0" marR="0" indent="0" algn="l" defTabSz="68580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3600" b="0" i="0" u="none" strike="noStrike" cap="none" spc="-136" baseline="0">
                <a:solidFill>
                  <a:srgbClr val="001689"/>
                </a:solidFill>
                <a:uFillTx/>
                <a:latin typeface="Maven Pro Regular"/>
                <a:ea typeface="Maven Pro Regular"/>
                <a:cs typeface="Maven Pro Regular"/>
                <a:sym typeface="Maven Pro Regular"/>
              </a:defRPr>
            </a:lvl8pPr>
            <a:lvl9pPr marL="0" marR="0" indent="0" algn="l" defTabSz="68580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3600" b="0" i="0" u="none" strike="noStrike" cap="none" spc="-136" baseline="0">
                <a:solidFill>
                  <a:srgbClr val="001689"/>
                </a:solidFill>
                <a:uFillTx/>
                <a:latin typeface="Maven Pro Regular"/>
                <a:ea typeface="Maven Pro Regular"/>
                <a:cs typeface="Maven Pro Regular"/>
                <a:sym typeface="Maven Pro Regular"/>
              </a:defRPr>
            </a:lvl9pPr>
          </a:lstStyle>
          <a:p>
            <a:endParaRPr lang="pt-BR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Body Level One…">
            <a:extLst>
              <a:ext uri="{FF2B5EF4-FFF2-40B4-BE49-F238E27FC236}">
                <a16:creationId xmlns:a16="http://schemas.microsoft.com/office/drawing/2014/main" id="{56357BA0-465E-33EE-8319-8AF871BA487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05148" y="1146610"/>
            <a:ext cx="11381704" cy="453027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spcBef>
                <a:spcPct val="0"/>
              </a:spcBef>
              <a:buNone/>
              <a:defRPr sz="3600" b="1" spc="-54">
                <a:solidFill>
                  <a:srgbClr val="54565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Arial" pitchFamily="34" charset="0"/>
                <a:cs typeface="Arial" pitchFamily="34" charset="0"/>
                <a:sym typeface="Maven Pro Regular Medium"/>
              </a:defRPr>
            </a:lvl1pPr>
            <a:lvl2pPr marL="173037" indent="0" algn="ctr">
              <a:spcBef>
                <a:spcPct val="0"/>
              </a:spcBef>
              <a:buNone/>
              <a:defRPr sz="2600" b="0" spc="-54">
                <a:solidFill>
                  <a:srgbClr val="FFFFFF"/>
                </a:solidFill>
                <a:latin typeface="Maven Pro Regular Medium"/>
                <a:ea typeface="Maven Pro Regular Medium"/>
                <a:cs typeface="Maven Pro Regular Medium"/>
                <a:sym typeface="Maven Pro Regular Medium"/>
              </a:defRPr>
            </a:lvl2pPr>
            <a:lvl3pPr marL="403225" indent="0" algn="ctr">
              <a:spcBef>
                <a:spcPct val="0"/>
              </a:spcBef>
              <a:buNone/>
              <a:defRPr sz="2600" b="0" spc="-54">
                <a:solidFill>
                  <a:srgbClr val="FFFFFF"/>
                </a:solidFill>
                <a:latin typeface="Maven Pro Regular Medium"/>
                <a:ea typeface="Maven Pro Regular Medium"/>
                <a:cs typeface="Maven Pro Regular Medium"/>
                <a:sym typeface="Maven Pro Regular Medium"/>
              </a:defRPr>
            </a:lvl3pPr>
            <a:lvl4pPr marL="1028700" indent="0" algn="ctr">
              <a:spcBef>
                <a:spcPct val="0"/>
              </a:spcBef>
              <a:buNone/>
              <a:defRPr sz="2600" b="0" spc="-54">
                <a:solidFill>
                  <a:srgbClr val="FFFFFF"/>
                </a:solidFill>
                <a:latin typeface="Maven Pro Regular Medium"/>
                <a:ea typeface="Maven Pro Regular Medium"/>
                <a:cs typeface="Maven Pro Regular Medium"/>
                <a:sym typeface="Maven Pro Regular Medium"/>
              </a:defRPr>
            </a:lvl4pPr>
            <a:lvl5pPr marL="1371600" indent="0" algn="ctr">
              <a:spcBef>
                <a:spcPct val="0"/>
              </a:spcBef>
              <a:buNone/>
              <a:defRPr sz="2600" b="0" spc="-54">
                <a:solidFill>
                  <a:srgbClr val="FFFFFF"/>
                </a:solidFill>
                <a:latin typeface="Maven Pro Regular Medium"/>
                <a:ea typeface="Maven Pro Regular Medium"/>
                <a:cs typeface="Maven Pro Regular Medium"/>
                <a:sym typeface="Maven Pro Regular Medium"/>
              </a:defRPr>
            </a:lvl5pPr>
          </a:lstStyle>
          <a:p>
            <a:pPr lvl="0"/>
            <a:r>
              <a:rPr lang="pt-BR"/>
              <a:t>Clique para editar os estilos de texto Mestre</a:t>
            </a:r>
            <a:endParaRPr/>
          </a:p>
        </p:txBody>
      </p:sp>
      <p:pic>
        <p:nvPicPr>
          <p:cNvPr id="15" name="Image">
            <a:extLst>
              <a:ext uri="{FF2B5EF4-FFF2-40B4-BE49-F238E27FC236}">
                <a16:creationId xmlns:a16="http://schemas.microsoft.com/office/drawing/2014/main" id="{D51B9DD8-FAF0-F20B-01F9-006CA3F08BC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2804" y="5982117"/>
            <a:ext cx="1519431" cy="660636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531210024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m 12">
            <a:extLst>
              <a:ext uri="{FF2B5EF4-FFF2-40B4-BE49-F238E27FC236}">
                <a16:creationId xmlns:a16="http://schemas.microsoft.com/office/drawing/2014/main" id="{34AA294B-EF41-718D-CEC4-E84FEE2B67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1960"/>
            <a:ext cx="12200626" cy="6859960"/>
          </a:xfrm>
          <a:prstGeom prst="rect">
            <a:avLst/>
          </a:prstGeom>
        </p:spPr>
      </p:pic>
      <p:sp>
        <p:nvSpPr>
          <p:cNvPr id="14" name="Retângulo 7">
            <a:extLst>
              <a:ext uri="{FF2B5EF4-FFF2-40B4-BE49-F238E27FC236}">
                <a16:creationId xmlns:a16="http://schemas.microsoft.com/office/drawing/2014/main" id="{0DEE6CB7-86D5-9A80-FADC-9D89145116AB}"/>
              </a:ext>
            </a:extLst>
          </p:cNvPr>
          <p:cNvSpPr/>
          <p:nvPr userDrawn="1"/>
        </p:nvSpPr>
        <p:spPr>
          <a:xfrm>
            <a:off x="-8626" y="1191"/>
            <a:ext cx="12200626" cy="6856809"/>
          </a:xfrm>
          <a:prstGeom prst="rect">
            <a:avLst/>
          </a:prstGeom>
          <a:solidFill>
            <a:srgbClr val="001689">
              <a:alpha val="30196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 sz="1400" cap="all">
                <a:solidFill>
                  <a:srgbClr val="FFFFFF"/>
                </a:solidFill>
                <a:latin typeface="Maven Pro Bold"/>
                <a:ea typeface="Maven Pro Bold"/>
                <a:cs typeface="Maven Pro Bold"/>
                <a:sym typeface="Maven Pro Bold"/>
              </a:defRPr>
            </a:pPr>
            <a:endParaRPr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Título 1">
            <a:extLst>
              <a:ext uri="{FF2B5EF4-FFF2-40B4-BE49-F238E27FC236}">
                <a16:creationId xmlns:a16="http://schemas.microsoft.com/office/drawing/2014/main" id="{50BD333E-C48D-014D-300A-8F451AC07D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26541" y="2777698"/>
            <a:ext cx="9693215" cy="930662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8" name="Subtítulo 2">
            <a:extLst>
              <a:ext uri="{FF2B5EF4-FFF2-40B4-BE49-F238E27FC236}">
                <a16:creationId xmlns:a16="http://schemas.microsoft.com/office/drawing/2014/main" id="{6EBCE26F-C1D7-2EF1-AA3D-8A7B0CE9C1B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26541" y="3800436"/>
            <a:ext cx="9693215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00A7E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19" name="Line">
            <a:extLst>
              <a:ext uri="{FF2B5EF4-FFF2-40B4-BE49-F238E27FC236}">
                <a16:creationId xmlns:a16="http://schemas.microsoft.com/office/drawing/2014/main" id="{9E61265B-DF69-75E9-0453-F185C8FC4560}"/>
              </a:ext>
            </a:extLst>
          </p:cNvPr>
          <p:cNvSpPr/>
          <p:nvPr userDrawn="1"/>
        </p:nvSpPr>
        <p:spPr>
          <a:xfrm>
            <a:off x="1032703" y="2725010"/>
            <a:ext cx="9900000" cy="1"/>
          </a:xfrm>
          <a:prstGeom prst="line">
            <a:avLst/>
          </a:prstGeom>
          <a:ln>
            <a:solidFill>
              <a:srgbClr val="00A7E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lIns="45718" tIns="45718" rIns="45718" bIns="45718"/>
          <a:lstStyle/>
          <a:p>
            <a:pPr>
              <a:defRPr>
                <a:solidFill>
                  <a:srgbClr val="29B6FF"/>
                </a:solidFill>
              </a:defRPr>
            </a:pPr>
            <a:endParaRPr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276464B2-74C3-6816-22A6-9ABD362A306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873" y="1338766"/>
            <a:ext cx="2179660" cy="1132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933648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Imag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1">
            <a:extLst>
              <a:ext uri="{FF2B5EF4-FFF2-40B4-BE49-F238E27FC236}">
                <a16:creationId xmlns:a16="http://schemas.microsoft.com/office/drawing/2014/main" id="{15260BF2-A5FA-D041-1EDA-4159609C66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2297"/>
            <a:ext cx="12192000" cy="6870297"/>
          </a:xfrm>
          <a:prstGeom prst="rect">
            <a:avLst/>
          </a:prstGeom>
          <a:ln w="12700">
            <a:miter lim="400000"/>
          </a:ln>
        </p:spPr>
      </p:pic>
      <p:pic>
        <p:nvPicPr>
          <p:cNvPr id="15" name="Blue-touch.png" descr="Blue-touch.png">
            <a:extLst>
              <a:ext uri="{FF2B5EF4-FFF2-40B4-BE49-F238E27FC236}">
                <a16:creationId xmlns:a16="http://schemas.microsoft.com/office/drawing/2014/main" id="{26B12306-27D5-0193-F5E2-5C4A69C0B6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-12879"/>
            <a:ext cx="12191999" cy="6887455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Body Level One…">
            <a:extLst>
              <a:ext uri="{FF2B5EF4-FFF2-40B4-BE49-F238E27FC236}">
                <a16:creationId xmlns:a16="http://schemas.microsoft.com/office/drawing/2014/main" id="{5972204C-931C-DFA4-BAEB-E4DD1BA1B54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787663" y="192611"/>
            <a:ext cx="5218810" cy="181185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spcBef>
                <a:spcPct val="0"/>
              </a:spcBef>
              <a:buNone/>
              <a:defRPr sz="3600" b="0" spc="-54">
                <a:solidFill>
                  <a:srgbClr val="FFFFFF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Maven Pro Regular Medium"/>
              </a:defRPr>
            </a:lvl1pPr>
            <a:lvl2pPr marL="173037" indent="0" algn="ctr">
              <a:spcBef>
                <a:spcPct val="0"/>
              </a:spcBef>
              <a:buNone/>
              <a:defRPr sz="2600" b="0" spc="-54">
                <a:solidFill>
                  <a:srgbClr val="FFFFFF"/>
                </a:solidFill>
                <a:latin typeface="Maven Pro Regular Medium"/>
                <a:ea typeface="Maven Pro Regular Medium"/>
                <a:cs typeface="Maven Pro Regular Medium"/>
                <a:sym typeface="Maven Pro Regular Medium"/>
              </a:defRPr>
            </a:lvl2pPr>
            <a:lvl3pPr marL="403225" indent="0" algn="ctr">
              <a:spcBef>
                <a:spcPct val="0"/>
              </a:spcBef>
              <a:buNone/>
              <a:defRPr sz="2600" b="0" spc="-54">
                <a:solidFill>
                  <a:srgbClr val="FFFFFF"/>
                </a:solidFill>
                <a:latin typeface="Maven Pro Regular Medium"/>
                <a:ea typeface="Maven Pro Regular Medium"/>
                <a:cs typeface="Maven Pro Regular Medium"/>
                <a:sym typeface="Maven Pro Regular Medium"/>
              </a:defRPr>
            </a:lvl3pPr>
            <a:lvl4pPr marL="1028700" indent="0" algn="ctr">
              <a:spcBef>
                <a:spcPct val="0"/>
              </a:spcBef>
              <a:buNone/>
              <a:defRPr sz="2600" b="0" spc="-54">
                <a:solidFill>
                  <a:srgbClr val="FFFFFF"/>
                </a:solidFill>
                <a:latin typeface="Maven Pro Regular Medium"/>
                <a:ea typeface="Maven Pro Regular Medium"/>
                <a:cs typeface="Maven Pro Regular Medium"/>
                <a:sym typeface="Maven Pro Regular Medium"/>
              </a:defRPr>
            </a:lvl4pPr>
            <a:lvl5pPr marL="1371600" indent="0" algn="ctr">
              <a:spcBef>
                <a:spcPct val="0"/>
              </a:spcBef>
              <a:buNone/>
              <a:defRPr sz="2600" b="0" spc="-54">
                <a:solidFill>
                  <a:srgbClr val="FFFFFF"/>
                </a:solidFill>
                <a:latin typeface="Maven Pro Regular Medium"/>
                <a:ea typeface="Maven Pro Regular Medium"/>
                <a:cs typeface="Maven Pro Regular Medium"/>
                <a:sym typeface="Maven Pro Regular Medium"/>
              </a:defRPr>
            </a:lvl5pPr>
          </a:lstStyle>
          <a:p>
            <a:pPr lvl="0"/>
            <a:r>
              <a:rPr lang="pt-BR"/>
              <a:t>Clique para editar os estilos de texto Mestre</a:t>
            </a:r>
            <a:endParaRPr/>
          </a:p>
        </p:txBody>
      </p:sp>
      <p:pic>
        <p:nvPicPr>
          <p:cNvPr id="19" name="Image">
            <a:extLst>
              <a:ext uri="{FF2B5EF4-FFF2-40B4-BE49-F238E27FC236}">
                <a16:creationId xmlns:a16="http://schemas.microsoft.com/office/drawing/2014/main" id="{19896D1E-FE98-AA6E-E76D-FF3C9096505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2804" y="5982117"/>
            <a:ext cx="1519431" cy="660636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91820176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Imag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1">
            <a:extLst>
              <a:ext uri="{FF2B5EF4-FFF2-40B4-BE49-F238E27FC236}">
                <a16:creationId xmlns:a16="http://schemas.microsoft.com/office/drawing/2014/main" id="{DDDD684A-C5EF-C2D2-DD03-07E8C9C9EC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859" y="0"/>
            <a:ext cx="12213443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8" name="Blue-touch.png" descr="Blue-touch.png">
            <a:extLst>
              <a:ext uri="{FF2B5EF4-FFF2-40B4-BE49-F238E27FC236}">
                <a16:creationId xmlns:a16="http://schemas.microsoft.com/office/drawing/2014/main" id="{23AF0584-3207-F80C-A4B6-5D74A9EA40C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2581" y="0"/>
            <a:ext cx="7970627" cy="5308343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tle Text">
            <a:extLst>
              <a:ext uri="{FF2B5EF4-FFF2-40B4-BE49-F238E27FC236}">
                <a16:creationId xmlns:a16="http://schemas.microsoft.com/office/drawing/2014/main" id="{AA793286-0D43-3C27-5AD9-7E17A2F8A774}"/>
              </a:ext>
            </a:extLst>
          </p:cNvPr>
          <p:cNvSpPr txBox="1"/>
          <p:nvPr userDrawn="1"/>
        </p:nvSpPr>
        <p:spPr>
          <a:xfrm>
            <a:off x="457197" y="152400"/>
            <a:ext cx="9487499" cy="834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p14="http://schemas.microsoft.com/office/powerpoint/2010/main" xmlns:p15="http://schemas.microsoft.com/office/powerpoint/2012/main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8" tIns="45718" rIns="45718" bIns="45718" anchor="ctr">
            <a:normAutofit/>
          </a:bodyPr>
          <a:lstStyle>
            <a:lvl1pPr marL="0" marR="0" indent="0" algn="l" defTabSz="68580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2800" b="0" i="0" u="none" strike="noStrike" cap="none" spc="-136" baseline="0">
                <a:solidFill>
                  <a:srgbClr val="001689"/>
                </a:solidFill>
                <a:uFillTx/>
                <a:latin typeface="Maven Pro Regular"/>
                <a:ea typeface="Maven Pro Regular"/>
                <a:cs typeface="Maven Pro Regular"/>
                <a:sym typeface="Maven Pro Regular"/>
              </a:defRPr>
            </a:lvl1pPr>
            <a:lvl2pPr marL="0" marR="0" indent="0" algn="l" defTabSz="68580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3600" b="0" i="0" u="none" strike="noStrike" cap="none" spc="-136" baseline="0">
                <a:solidFill>
                  <a:srgbClr val="001689"/>
                </a:solidFill>
                <a:uFillTx/>
                <a:latin typeface="Maven Pro Regular"/>
                <a:ea typeface="Maven Pro Regular"/>
                <a:cs typeface="Maven Pro Regular"/>
                <a:sym typeface="Maven Pro Regular"/>
              </a:defRPr>
            </a:lvl2pPr>
            <a:lvl3pPr marL="0" marR="0" indent="0" algn="l" defTabSz="68580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3600" b="0" i="0" u="none" strike="noStrike" cap="none" spc="-136" baseline="0">
                <a:solidFill>
                  <a:srgbClr val="001689"/>
                </a:solidFill>
                <a:uFillTx/>
                <a:latin typeface="Maven Pro Regular"/>
                <a:ea typeface="Maven Pro Regular"/>
                <a:cs typeface="Maven Pro Regular"/>
                <a:sym typeface="Maven Pro Regular"/>
              </a:defRPr>
            </a:lvl3pPr>
            <a:lvl4pPr marL="0" marR="0" indent="0" algn="l" defTabSz="68580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3600" b="0" i="0" u="none" strike="noStrike" cap="none" spc="-136" baseline="0">
                <a:solidFill>
                  <a:srgbClr val="001689"/>
                </a:solidFill>
                <a:uFillTx/>
                <a:latin typeface="Maven Pro Regular"/>
                <a:ea typeface="Maven Pro Regular"/>
                <a:cs typeface="Maven Pro Regular"/>
                <a:sym typeface="Maven Pro Regular"/>
              </a:defRPr>
            </a:lvl4pPr>
            <a:lvl5pPr marL="0" marR="0" indent="0" algn="l" defTabSz="68580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3600" b="0" i="0" u="none" strike="noStrike" cap="none" spc="-136" baseline="0">
                <a:solidFill>
                  <a:srgbClr val="001689"/>
                </a:solidFill>
                <a:uFillTx/>
                <a:latin typeface="Maven Pro Regular"/>
                <a:ea typeface="Maven Pro Regular"/>
                <a:cs typeface="Maven Pro Regular"/>
                <a:sym typeface="Maven Pro Regular"/>
              </a:defRPr>
            </a:lvl5pPr>
            <a:lvl6pPr marL="0" marR="0" indent="0" algn="l" defTabSz="68580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3600" b="0" i="0" u="none" strike="noStrike" cap="none" spc="-136" baseline="0">
                <a:solidFill>
                  <a:srgbClr val="001689"/>
                </a:solidFill>
                <a:uFillTx/>
                <a:latin typeface="Maven Pro Regular"/>
                <a:ea typeface="Maven Pro Regular"/>
                <a:cs typeface="Maven Pro Regular"/>
                <a:sym typeface="Maven Pro Regular"/>
              </a:defRPr>
            </a:lvl6pPr>
            <a:lvl7pPr marL="0" marR="0" indent="0" algn="l" defTabSz="68580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3600" b="0" i="0" u="none" strike="noStrike" cap="none" spc="-136" baseline="0">
                <a:solidFill>
                  <a:srgbClr val="001689"/>
                </a:solidFill>
                <a:uFillTx/>
                <a:latin typeface="Maven Pro Regular"/>
                <a:ea typeface="Maven Pro Regular"/>
                <a:cs typeface="Maven Pro Regular"/>
                <a:sym typeface="Maven Pro Regular"/>
              </a:defRPr>
            </a:lvl7pPr>
            <a:lvl8pPr marL="0" marR="0" indent="0" algn="l" defTabSz="68580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3600" b="0" i="0" u="none" strike="noStrike" cap="none" spc="-136" baseline="0">
                <a:solidFill>
                  <a:srgbClr val="001689"/>
                </a:solidFill>
                <a:uFillTx/>
                <a:latin typeface="Maven Pro Regular"/>
                <a:ea typeface="Maven Pro Regular"/>
                <a:cs typeface="Maven Pro Regular"/>
                <a:sym typeface="Maven Pro Regular"/>
              </a:defRPr>
            </a:lvl8pPr>
            <a:lvl9pPr marL="0" marR="0" indent="0" algn="l" defTabSz="68580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3600" b="0" i="0" u="none" strike="noStrike" cap="none" spc="-136" baseline="0">
                <a:solidFill>
                  <a:srgbClr val="001689"/>
                </a:solidFill>
                <a:uFillTx/>
                <a:latin typeface="Maven Pro Regular"/>
                <a:ea typeface="Maven Pro Regular"/>
                <a:cs typeface="Maven Pro Regular"/>
                <a:sym typeface="Maven Pro Regular"/>
              </a:defRPr>
            </a:lvl9pPr>
          </a:lstStyle>
          <a:p>
            <a:endParaRPr lang="pt-BR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Body Level One…">
            <a:extLst>
              <a:ext uri="{FF2B5EF4-FFF2-40B4-BE49-F238E27FC236}">
                <a16:creationId xmlns:a16="http://schemas.microsoft.com/office/drawing/2014/main" id="{46187CC5-80CE-D0B9-6EFD-0C9C41FF68C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03106" y="1167431"/>
            <a:ext cx="10785789" cy="452313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spcBef>
                <a:spcPct val="0"/>
              </a:spcBef>
              <a:buNone/>
              <a:defRPr sz="3600" b="0" spc="-54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Arial" pitchFamily="34" charset="0"/>
                <a:cs typeface="Arial" pitchFamily="34" charset="0"/>
                <a:sym typeface="Maven Pro Regular Medium"/>
              </a:defRPr>
            </a:lvl1pPr>
            <a:lvl2pPr marL="173037" indent="0" algn="ctr">
              <a:spcBef>
                <a:spcPct val="0"/>
              </a:spcBef>
              <a:buNone/>
              <a:defRPr sz="2600" b="0" spc="-54">
                <a:solidFill>
                  <a:srgbClr val="FFFFFF"/>
                </a:solidFill>
                <a:latin typeface="Maven Pro Regular Medium"/>
                <a:ea typeface="Maven Pro Regular Medium"/>
                <a:cs typeface="Maven Pro Regular Medium"/>
                <a:sym typeface="Maven Pro Regular Medium"/>
              </a:defRPr>
            </a:lvl2pPr>
            <a:lvl3pPr marL="403225" indent="0" algn="ctr">
              <a:spcBef>
                <a:spcPct val="0"/>
              </a:spcBef>
              <a:buNone/>
              <a:defRPr sz="2600" b="0" spc="-54">
                <a:solidFill>
                  <a:srgbClr val="FFFFFF"/>
                </a:solidFill>
                <a:latin typeface="Maven Pro Regular Medium"/>
                <a:ea typeface="Maven Pro Regular Medium"/>
                <a:cs typeface="Maven Pro Regular Medium"/>
                <a:sym typeface="Maven Pro Regular Medium"/>
              </a:defRPr>
            </a:lvl3pPr>
            <a:lvl4pPr marL="1028700" indent="0" algn="ctr">
              <a:spcBef>
                <a:spcPct val="0"/>
              </a:spcBef>
              <a:buNone/>
              <a:defRPr sz="2600" b="0" spc="-54">
                <a:solidFill>
                  <a:srgbClr val="FFFFFF"/>
                </a:solidFill>
                <a:latin typeface="Maven Pro Regular Medium"/>
                <a:ea typeface="Maven Pro Regular Medium"/>
                <a:cs typeface="Maven Pro Regular Medium"/>
                <a:sym typeface="Maven Pro Regular Medium"/>
              </a:defRPr>
            </a:lvl4pPr>
            <a:lvl5pPr marL="1371600" indent="0" algn="ctr">
              <a:spcBef>
                <a:spcPct val="0"/>
              </a:spcBef>
              <a:buNone/>
              <a:defRPr sz="2600" b="0" spc="-54">
                <a:solidFill>
                  <a:srgbClr val="FFFFFF"/>
                </a:solidFill>
                <a:latin typeface="Maven Pro Regular Medium"/>
                <a:ea typeface="Maven Pro Regular Medium"/>
                <a:cs typeface="Maven Pro Regular Medium"/>
                <a:sym typeface="Maven Pro Regular Medium"/>
              </a:defRPr>
            </a:lvl5pPr>
          </a:lstStyle>
          <a:p>
            <a:pPr lvl="0"/>
            <a:r>
              <a:rPr lang="pt-BR"/>
              <a:t>Clique para editar os estilos de texto Mestre</a:t>
            </a:r>
            <a:endParaRPr/>
          </a:p>
        </p:txBody>
      </p:sp>
      <p:pic>
        <p:nvPicPr>
          <p:cNvPr id="14" name="Image">
            <a:extLst>
              <a:ext uri="{FF2B5EF4-FFF2-40B4-BE49-F238E27FC236}">
                <a16:creationId xmlns:a16="http://schemas.microsoft.com/office/drawing/2014/main" id="{A438225D-CF1E-8145-E5B5-798B6240717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7784" y="194897"/>
            <a:ext cx="1517037" cy="659595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1968914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FE6D602-AEEB-470F-B29D-C6EFC58F6D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1EF8FF7A-21D2-4E90-A3D0-7C715A6FD9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solidFill>
                  <a:srgbClr val="54565A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800">
                <a:solidFill>
                  <a:srgbClr val="54565A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rgbClr val="54565A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000">
                <a:solidFill>
                  <a:srgbClr val="54565A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000">
                <a:solidFill>
                  <a:srgbClr val="54565A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08F7E688-E2AC-40A4-9137-9D5B9D4BAFC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solidFill>
                  <a:srgbClr val="54565A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Número de Slide 6">
            <a:extLst>
              <a:ext uri="{FF2B5EF4-FFF2-40B4-BE49-F238E27FC236}">
                <a16:creationId xmlns:a16="http://schemas.microsoft.com/office/drawing/2014/main" id="{246AF30D-509D-9010-B559-AC633B8532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6161" y="6600357"/>
            <a:ext cx="677577" cy="21451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00A7E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386E9D1-5D70-4295-8BC3-EE421546933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83240415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593701F1-00B5-42FC-9782-0648D2CA13D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A70B88A7-0865-4623-93DA-6D0A8F3A6A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pic>
        <p:nvPicPr>
          <p:cNvPr id="6" name="Image">
            <a:extLst>
              <a:ext uri="{FF2B5EF4-FFF2-40B4-BE49-F238E27FC236}">
                <a16:creationId xmlns:a16="http://schemas.microsoft.com/office/drawing/2014/main" id="{EF1D0FD4-B49D-2CAB-DF8D-400EFCF5DA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596"/>
          <a:stretch>
            <a:fillRect/>
          </a:stretch>
        </p:blipFill>
        <p:spPr>
          <a:xfrm rot="5400000">
            <a:off x="10892530" y="5455605"/>
            <a:ext cx="1498540" cy="576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C2B1BFB-24A5-062A-5A4F-A84CE5D088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rot="5400000">
            <a:off x="-76589" y="6385620"/>
            <a:ext cx="677577" cy="21451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00A7E1"/>
                </a:solidFill>
              </a:defRPr>
            </a:lvl1pPr>
          </a:lstStyle>
          <a:p>
            <a:fld id="{254489CB-8CCE-469D-921E-5E01670C60C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49332300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fin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283EDD47-E4F6-9A3A-88B2-0FD8D60E27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-113" y="60"/>
            <a:ext cx="12191925" cy="6857939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Título 1">
            <a:extLst>
              <a:ext uri="{FF2B5EF4-FFF2-40B4-BE49-F238E27FC236}">
                <a16:creationId xmlns:a16="http://schemas.microsoft.com/office/drawing/2014/main" id="{B780E4A3-25C8-B22C-CD32-244EF59B95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26541" y="2777698"/>
            <a:ext cx="9693215" cy="930662"/>
          </a:xfrm>
        </p:spPr>
        <p:txBody>
          <a:bodyPr anchor="ctr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5" name="Título 2">
            <a:extLst>
              <a:ext uri="{FF2B5EF4-FFF2-40B4-BE49-F238E27FC236}">
                <a16:creationId xmlns:a16="http://schemas.microsoft.com/office/drawing/2014/main" id="{839CCE63-8C9B-D36D-E467-80C2C4CE6F84}"/>
              </a:ext>
            </a:extLst>
          </p:cNvPr>
          <p:cNvSpPr txBox="1"/>
          <p:nvPr userDrawn="1"/>
        </p:nvSpPr>
        <p:spPr>
          <a:xfrm>
            <a:off x="1153473" y="5067735"/>
            <a:ext cx="7930037" cy="94869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p14="http://schemas.microsoft.com/office/powerpoint/2010/main" xmlns:p15="http://schemas.microsoft.com/office/powerpoint/2012/main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45719" rIns="45719" anchor="b">
            <a:normAutofit/>
          </a:bodyPr>
          <a:lstStyle>
            <a:lvl1pPr>
              <a:spcBef>
                <a:spcPct val="0"/>
              </a:spcBef>
              <a:defRPr sz="1200" spc="-33">
                <a:solidFill>
                  <a:srgbClr val="FFFFFF"/>
                </a:solidFill>
              </a:defRPr>
            </a:lvl1pPr>
          </a:lstStyle>
          <a:p>
            <a:r>
              <a:rPr lang="en-US" sz="1600" b="0" i="0" strike="noStrike" cap="none" spc="-33" baseline="0">
                <a:solidFill>
                  <a:srgbClr val="FFFFFF"/>
                </a:solidFill>
                <a:effectLst/>
                <a:latin typeface="Arial"/>
                <a:ea typeface="Arial"/>
                <a:cs typeface="Arial"/>
              </a:rPr>
              <a:t>ciriontechnologies.com</a:t>
            </a:r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BF212B5B-1FC1-47F0-3C91-4CA9019C7DA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1828" y="5885796"/>
            <a:ext cx="1353397" cy="703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421257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ítulo e Conteúdo">
  <p:cSld name="3_Título e Conteúdo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43"/>
          <p:cNvSpPr txBox="1">
            <a:spLocks noGrp="1"/>
          </p:cNvSpPr>
          <p:nvPr>
            <p:ph type="title"/>
          </p:nvPr>
        </p:nvSpPr>
        <p:spPr>
          <a:xfrm>
            <a:off x="569344" y="227104"/>
            <a:ext cx="9859992" cy="79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1689"/>
              </a:buClr>
              <a:buSzPts val="3600"/>
              <a:buFont typeface="Arial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" name="Google Shape;46;p43"/>
          <p:cNvSpPr txBox="1">
            <a:spLocks noGrp="1"/>
          </p:cNvSpPr>
          <p:nvPr>
            <p:ph type="body" idx="1"/>
          </p:nvPr>
        </p:nvSpPr>
        <p:spPr>
          <a:xfrm>
            <a:off x="569344" y="1111877"/>
            <a:ext cx="11274724" cy="4840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rgbClr val="29B6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9B6FF"/>
              </a:buClr>
              <a:buSzPts val="2000"/>
              <a:buChar char="•"/>
              <a:defRPr>
                <a:solidFill>
                  <a:srgbClr val="29B6FF"/>
                </a:solidFill>
              </a:defRPr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9B6FF"/>
              </a:buClr>
              <a:buSzPts val="1800"/>
              <a:buChar char="•"/>
              <a:defRPr>
                <a:solidFill>
                  <a:srgbClr val="29B6FF"/>
                </a:solidFill>
              </a:defRPr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9B6FF"/>
              </a:buClr>
              <a:buSzPts val="1800"/>
              <a:buChar char="•"/>
              <a:defRPr>
                <a:solidFill>
                  <a:srgbClr val="29B6FF"/>
                </a:solidFill>
              </a:defRPr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9B6FF"/>
              </a:buClr>
              <a:buSzPts val="1800"/>
              <a:buChar char="•"/>
              <a:defRPr>
                <a:solidFill>
                  <a:srgbClr val="29B6FF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" name="Google Shape;47;p43"/>
          <p:cNvSpPr txBox="1">
            <a:spLocks noGrp="1"/>
          </p:cNvSpPr>
          <p:nvPr>
            <p:ph type="sldNum" idx="12"/>
          </p:nvPr>
        </p:nvSpPr>
        <p:spPr>
          <a:xfrm>
            <a:off x="806161" y="6600357"/>
            <a:ext cx="677577" cy="2145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 sz="1000">
                <a:solidFill>
                  <a:srgbClr val="00A7E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l">
              <a:spcBef>
                <a:spcPts val="0"/>
              </a:spcBef>
              <a:buNone/>
              <a:defRPr sz="1000">
                <a:solidFill>
                  <a:srgbClr val="00A7E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l">
              <a:spcBef>
                <a:spcPts val="0"/>
              </a:spcBef>
              <a:buNone/>
              <a:defRPr sz="1000">
                <a:solidFill>
                  <a:srgbClr val="00A7E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l">
              <a:spcBef>
                <a:spcPts val="0"/>
              </a:spcBef>
              <a:buNone/>
              <a:defRPr sz="1000">
                <a:solidFill>
                  <a:srgbClr val="00A7E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l">
              <a:spcBef>
                <a:spcPts val="0"/>
              </a:spcBef>
              <a:buNone/>
              <a:defRPr sz="1000">
                <a:solidFill>
                  <a:srgbClr val="00A7E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l">
              <a:spcBef>
                <a:spcPts val="0"/>
              </a:spcBef>
              <a:buNone/>
              <a:defRPr sz="1000">
                <a:solidFill>
                  <a:srgbClr val="00A7E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l">
              <a:spcBef>
                <a:spcPts val="0"/>
              </a:spcBef>
              <a:buNone/>
              <a:defRPr sz="1000">
                <a:solidFill>
                  <a:srgbClr val="00A7E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l">
              <a:spcBef>
                <a:spcPts val="0"/>
              </a:spcBef>
              <a:buNone/>
              <a:defRPr sz="1000">
                <a:solidFill>
                  <a:srgbClr val="00A7E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l">
              <a:spcBef>
                <a:spcPts val="0"/>
              </a:spcBef>
              <a:buNone/>
              <a:defRPr sz="1000">
                <a:solidFill>
                  <a:srgbClr val="00A7E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AR"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9154455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m Branco" type="blank">
  <p:cSld name="Em Branco"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p45"/>
          <p:cNvSpPr txBox="1">
            <a:spLocks noGrp="1"/>
          </p:cNvSpPr>
          <p:nvPr>
            <p:ph type="sldNum" idx="12"/>
          </p:nvPr>
        </p:nvSpPr>
        <p:spPr>
          <a:xfrm>
            <a:off x="806161" y="6600357"/>
            <a:ext cx="677577" cy="2145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 sz="1000">
                <a:solidFill>
                  <a:srgbClr val="00A7E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l">
              <a:spcBef>
                <a:spcPts val="0"/>
              </a:spcBef>
              <a:buNone/>
              <a:defRPr sz="1000">
                <a:solidFill>
                  <a:srgbClr val="00A7E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l">
              <a:spcBef>
                <a:spcPts val="0"/>
              </a:spcBef>
              <a:buNone/>
              <a:defRPr sz="1000">
                <a:solidFill>
                  <a:srgbClr val="00A7E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l">
              <a:spcBef>
                <a:spcPts val="0"/>
              </a:spcBef>
              <a:buNone/>
              <a:defRPr sz="1000">
                <a:solidFill>
                  <a:srgbClr val="00A7E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l">
              <a:spcBef>
                <a:spcPts val="0"/>
              </a:spcBef>
              <a:buNone/>
              <a:defRPr sz="1000">
                <a:solidFill>
                  <a:srgbClr val="00A7E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l">
              <a:spcBef>
                <a:spcPts val="0"/>
              </a:spcBef>
              <a:buNone/>
              <a:defRPr sz="1000">
                <a:solidFill>
                  <a:srgbClr val="00A7E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l">
              <a:spcBef>
                <a:spcPts val="0"/>
              </a:spcBef>
              <a:buNone/>
              <a:defRPr sz="1000">
                <a:solidFill>
                  <a:srgbClr val="00A7E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l">
              <a:spcBef>
                <a:spcPts val="0"/>
              </a:spcBef>
              <a:buNone/>
              <a:defRPr sz="1000">
                <a:solidFill>
                  <a:srgbClr val="00A7E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l">
              <a:spcBef>
                <a:spcPts val="0"/>
              </a:spcBef>
              <a:buNone/>
              <a:defRPr sz="1000">
                <a:solidFill>
                  <a:srgbClr val="00A7E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AR"/>
              <a:t>‹Nº›</a:t>
            </a:fld>
            <a:endParaRPr/>
          </a:p>
        </p:txBody>
      </p:sp>
      <p:pic>
        <p:nvPicPr>
          <p:cNvPr id="57" name="Google Shape;57;p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446589" y="155281"/>
            <a:ext cx="1498540" cy="576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2082579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E1DC3B6-45A0-8242-92C8-3ECAB27A2DA8}"/>
              </a:ext>
            </a:extLst>
          </p:cNvPr>
          <p:cNvSpPr/>
          <p:nvPr userDrawn="1"/>
        </p:nvSpPr>
        <p:spPr>
          <a:xfrm>
            <a:off x="0" y="0"/>
            <a:ext cx="12192000" cy="2478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3DC30AD-B46C-2D47-8898-A25FD2603CE9}"/>
              </a:ext>
            </a:extLst>
          </p:cNvPr>
          <p:cNvSpPr/>
          <p:nvPr userDrawn="1"/>
        </p:nvSpPr>
        <p:spPr>
          <a:xfrm>
            <a:off x="1" y="0"/>
            <a:ext cx="299803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2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156A892-D42B-F94C-A306-4A6E49A13A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87680"/>
            <a:ext cx="10972800" cy="8349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E865BCC9-3271-D040-98FE-4E6BE8C16F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9919" y="6389720"/>
            <a:ext cx="52968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33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16AF6406-B3F2-AD48-99A2-24C88CF40A2E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95078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umns 4 -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2571749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2571749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337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337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8650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8650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973701C-90E3-449B-A44A-0C66B094560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392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B018D-34A3-4417-AE76-9BB3793F033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392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3BDC2B1A-D3A0-C04B-AEDB-0389C637EF1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81000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0F6CE73-9C88-264F-A7F2-A3D2B2D1938B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33375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5F289FE6-F2A2-784D-9D31-047C10F04CD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628650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079B5C1-1D0F-8F40-A376-4AE3B49D1B5A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239251" y="3108960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253536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M Basic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1D8D7DD-7262-4500-B4DA-8F42AA6C37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36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63" imgH="457" progId="TCLayout.ActiveDocument.1">
                  <p:embed/>
                </p:oleObj>
              </mc:Choice>
              <mc:Fallback>
                <p:oleObj name="think-cell Slide" r:id="rId3" imgW="463" imgH="45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1D8D7DD-7262-4500-B4DA-8F42AA6C37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069EEA-9E70-8049-B31C-4D59E4B79272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 rtl="0">
              <a:defRPr/>
            </a:lvl1pPr>
          </a:lstStyle>
          <a:p>
            <a:fld id="{71B882E3-AA57-DB47-B7F5-4E115F25E2D7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6AF662F-5FB5-374D-A851-A69DE83E04E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4636" y="684019"/>
            <a:ext cx="11294451" cy="10304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rtl="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defRPr sz="3600" b="1" i="0">
                <a:latin typeface="Graphik" panose="020B0503030202060203" pitchFamily="34" charset="77"/>
              </a:defRPr>
            </a:lvl1pPr>
          </a:lstStyle>
          <a:p>
            <a:pPr lvl="0"/>
            <a:r>
              <a:rPr lang="pt-BR"/>
              <a:t>Click </a:t>
            </a:r>
            <a:r>
              <a:rPr lang="pt-BR" err="1"/>
              <a:t>to</a:t>
            </a:r>
            <a:r>
              <a:rPr lang="pt-BR"/>
              <a:t> </a:t>
            </a:r>
            <a:r>
              <a:rPr lang="pt-BR" err="1"/>
              <a:t>edit</a:t>
            </a:r>
            <a:r>
              <a:rPr lang="pt-BR"/>
              <a:t> </a:t>
            </a:r>
            <a:r>
              <a:rPr lang="pt-BR" err="1"/>
              <a:t>this</a:t>
            </a:r>
            <a:r>
              <a:rPr lang="pt-BR"/>
              <a:t> master </a:t>
            </a:r>
            <a:r>
              <a:rPr lang="pt-BR" err="1"/>
              <a:t>title</a:t>
            </a:r>
            <a:endParaRPr lang="pt-BR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EE6C0E45-523A-B84F-B606-437944DDFA6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54635" y="444948"/>
            <a:ext cx="11286000" cy="21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rtl="0">
              <a:lnSpc>
                <a:spcPct val="80000"/>
              </a:lnSpc>
              <a:spcBef>
                <a:spcPts val="0"/>
              </a:spcBef>
              <a:defRPr sz="1000" b="1" i="0" cap="none" spc="200" baseline="0">
                <a:solidFill>
                  <a:schemeClr val="accent1"/>
                </a:solidFill>
                <a:latin typeface="Graphik" panose="020B0503030202060203" pitchFamily="34" charset="77"/>
              </a:defRPr>
            </a:lvl1pPr>
            <a:lvl2pPr>
              <a:defRPr sz="1000" b="1" i="0" cap="none" spc="100">
                <a:latin typeface="Graphik Semibold" panose="020B0503030202060203" pitchFamily="34" charset="77"/>
              </a:defRPr>
            </a:lvl2pPr>
            <a:lvl3pPr>
              <a:defRPr sz="1000" b="1" i="0" cap="none" spc="100">
                <a:latin typeface="Graphik Semibold" panose="020B0503030202060203" pitchFamily="34" charset="77"/>
              </a:defRPr>
            </a:lvl3pPr>
            <a:lvl4pPr>
              <a:defRPr sz="1000" b="1" i="0" cap="none" spc="100">
                <a:latin typeface="Graphik Semibold" panose="020B0503030202060203" pitchFamily="34" charset="77"/>
              </a:defRPr>
            </a:lvl4pPr>
            <a:lvl5pPr>
              <a:defRPr sz="1000" b="1" i="0" cap="none" spc="100">
                <a:latin typeface="Graphik Semibold" panose="020B0503030202060203" pitchFamily="34" charset="77"/>
              </a:defRPr>
            </a:lvl5pPr>
          </a:lstStyle>
          <a:p>
            <a:pPr lvl="0"/>
            <a:r>
              <a:rPr lang="pt-BR"/>
              <a:t>USE CAPS FOR THIS SECTION TITLE IF NEEDED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BF29A88-3B9F-471C-9855-DCDFF39A9A07}"/>
              </a:ext>
            </a:extLst>
          </p:cNvPr>
          <p:cNvSpPr txBox="1"/>
          <p:nvPr userDrawn="1"/>
        </p:nvSpPr>
        <p:spPr>
          <a:xfrm>
            <a:off x="717884" y="6620246"/>
            <a:ext cx="5715001" cy="200055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0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Copyright © 2021 Accenture. </a:t>
            </a:r>
            <a:r>
              <a:rPr lang="pt-BR" sz="1000" kern="1200" err="1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All</a:t>
            </a:r>
            <a:r>
              <a:rPr lang="pt-BR" sz="100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 </a:t>
            </a:r>
            <a:r>
              <a:rPr lang="pt-BR" sz="1000" kern="1200" err="1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rights</a:t>
            </a:r>
            <a:r>
              <a:rPr lang="pt-BR" sz="100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 </a:t>
            </a:r>
            <a:r>
              <a:rPr lang="pt-BR" sz="1000" kern="1200" err="1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reserved</a:t>
            </a:r>
            <a:r>
              <a:rPr lang="pt-BR" sz="100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865421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">
            <a:extLst>
              <a:ext uri="{FF2B5EF4-FFF2-40B4-BE49-F238E27FC236}">
                <a16:creationId xmlns:a16="http://schemas.microsoft.com/office/drawing/2014/main" id="{AFD18F94-E217-D261-ED01-760016D65049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prstGeom prst="rect">
            <a:avLst/>
          </a:prstGeom>
          <a:gradFill>
            <a:gsLst>
              <a:gs pos="2082">
                <a:srgbClr val="00005B"/>
              </a:gs>
              <a:gs pos="57959">
                <a:srgbClr val="001689"/>
              </a:gs>
              <a:gs pos="84263">
                <a:srgbClr val="0031A0"/>
              </a:gs>
              <a:gs pos="100000">
                <a:srgbClr val="004CB8"/>
              </a:gs>
            </a:gsLst>
            <a:lin ang="16200000"/>
          </a:gradFill>
          <a:ln w="12700">
            <a:miter lim="400000"/>
          </a:ln>
        </p:spPr>
        <p:txBody>
          <a:bodyPr lIns="45719" rIns="45719" anchor="ctr"/>
          <a:lstStyle/>
          <a:p>
            <a:pPr>
              <a:defRPr sz="1400" cap="all">
                <a:latin typeface="Maven Pro Bold"/>
                <a:ea typeface="Maven Pro Bold"/>
                <a:cs typeface="Maven Pro Bold"/>
                <a:sym typeface="Maven Pro Bold"/>
              </a:defRPr>
            </a:pPr>
            <a:endParaRPr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ítulo 1">
            <a:extLst>
              <a:ext uri="{FF2B5EF4-FFF2-40B4-BE49-F238E27FC236}">
                <a16:creationId xmlns:a16="http://schemas.microsoft.com/office/drawing/2014/main" id="{46D16EDB-D697-CC1F-FBB4-51100F24CF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26541" y="2777698"/>
            <a:ext cx="9693215" cy="930662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2" name="Subtítulo 2">
            <a:extLst>
              <a:ext uri="{FF2B5EF4-FFF2-40B4-BE49-F238E27FC236}">
                <a16:creationId xmlns:a16="http://schemas.microsoft.com/office/drawing/2014/main" id="{F1D46137-4EBA-2C15-96C8-8F6CCB77FBB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26541" y="3800436"/>
            <a:ext cx="9693215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00A7E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13" name="Line">
            <a:extLst>
              <a:ext uri="{FF2B5EF4-FFF2-40B4-BE49-F238E27FC236}">
                <a16:creationId xmlns:a16="http://schemas.microsoft.com/office/drawing/2014/main" id="{B62788AF-8303-8A52-5FF5-974494D28EFF}"/>
              </a:ext>
            </a:extLst>
          </p:cNvPr>
          <p:cNvSpPr/>
          <p:nvPr userDrawn="1"/>
        </p:nvSpPr>
        <p:spPr>
          <a:xfrm>
            <a:off x="1032703" y="2725010"/>
            <a:ext cx="9900000" cy="1"/>
          </a:xfrm>
          <a:prstGeom prst="line">
            <a:avLst/>
          </a:prstGeom>
          <a:ln>
            <a:solidFill>
              <a:srgbClr val="00A7E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lIns="45718" tIns="45718" rIns="45718" bIns="45718"/>
          <a:lstStyle/>
          <a:p>
            <a:pPr>
              <a:defRPr>
                <a:solidFill>
                  <a:srgbClr val="29B6FF"/>
                </a:solidFill>
              </a:defRPr>
            </a:pPr>
            <a:endParaRPr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757C11C7-E7A6-8CE1-CA64-0888466B817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873" y="1338766"/>
            <a:ext cx="2179660" cy="1132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9379595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lide de Títul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223EBB3E-B912-90D7-AEC2-92C2C7AD9C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461892" y="-1902"/>
            <a:ext cx="3420000" cy="3119115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Body Level One…">
            <a:extLst>
              <a:ext uri="{FF2B5EF4-FFF2-40B4-BE49-F238E27FC236}">
                <a16:creationId xmlns:a16="http://schemas.microsoft.com/office/drawing/2014/main" id="{4B62E753-A3FF-7D5A-10D2-8A8DEB395F5B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>
          <a:xfrm>
            <a:off x="1037573" y="4844547"/>
            <a:ext cx="7569200" cy="6829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rgbClr val="54565A"/>
                </a:solidFill>
                <a:latin typeface="Arial" pitchFamily="34" charset="0"/>
                <a:cs typeface="Arial" pitchFamily="34" charset="0"/>
              </a:defRPr>
            </a:lvl1pPr>
            <a:lvl2pPr marL="0" indent="342900">
              <a:buSzTx/>
              <a:buNone/>
            </a:lvl2pPr>
            <a:lvl3pPr marL="0" indent="685800">
              <a:buSzTx/>
              <a:buNone/>
            </a:lvl3pPr>
            <a:lvl4pPr marL="0" indent="1028700">
              <a:buSzTx/>
              <a:buNone/>
            </a:lvl4pPr>
            <a:lvl5pPr marL="0" indent="1371600">
              <a:buSzTx/>
              <a:buNone/>
            </a:lvl5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1" name="Title Text">
            <a:extLst>
              <a:ext uri="{FF2B5EF4-FFF2-40B4-BE49-F238E27FC236}">
                <a16:creationId xmlns:a16="http://schemas.microsoft.com/office/drawing/2014/main" id="{6945A583-A3A8-124A-58EB-2A1E572B592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037573" y="3556963"/>
            <a:ext cx="7569200" cy="1259183"/>
          </a:xfrm>
          <a:prstGeom prst="rect">
            <a:avLst/>
          </a:prstGeom>
        </p:spPr>
        <p:txBody>
          <a:bodyPr anchor="b"/>
          <a:lstStyle>
            <a:lvl1pPr>
              <a:defRPr spc="-150">
                <a:latin typeface="Arial" pitchFamily="34" charset="0"/>
                <a:ea typeface="Arial" pitchFamily="34" charset="0"/>
                <a:cs typeface="Arial" pitchFamily="34" charset="0"/>
                <a:sym typeface="Maven Pro Regular Medium"/>
              </a:defRPr>
            </a:lvl1pPr>
          </a:lstStyle>
          <a:p>
            <a:r>
              <a:rPr lang="pt-BR"/>
              <a:t>Clique para editar o título Mestre</a:t>
            </a:r>
            <a:endParaRPr/>
          </a:p>
        </p:txBody>
      </p:sp>
      <p:pic>
        <p:nvPicPr>
          <p:cNvPr id="15" name="Picture 11" descr="Picture 11">
            <a:extLst>
              <a:ext uri="{FF2B5EF4-FFF2-40B4-BE49-F238E27FC236}">
                <a16:creationId xmlns:a16="http://schemas.microsoft.com/office/drawing/2014/main" id="{DF3ECDD5-EBB0-592A-EBDD-5653BBF7BCD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1795" y="1586791"/>
            <a:ext cx="2060193" cy="720000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D76B765B-A2D1-F4AB-F8EF-CD26F67082E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37573" y="5551604"/>
            <a:ext cx="2057400" cy="273844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4565A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6101821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abeçalho da Seçã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" descr="Image">
            <a:extLst>
              <a:ext uri="{FF2B5EF4-FFF2-40B4-BE49-F238E27FC236}">
                <a16:creationId xmlns:a16="http://schemas.microsoft.com/office/drawing/2014/main" id="{D11EBCCA-C26C-8EB3-CB52-D32A4E5514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Image" descr="Image">
            <a:extLst>
              <a:ext uri="{FF2B5EF4-FFF2-40B4-BE49-F238E27FC236}">
                <a16:creationId xmlns:a16="http://schemas.microsoft.com/office/drawing/2014/main" id="{003EEAB6-D056-47E5-9756-BB2AD7C012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5393" y="6141834"/>
            <a:ext cx="1334916" cy="468000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12" name="Título 1">
            <a:extLst>
              <a:ext uri="{FF2B5EF4-FFF2-40B4-BE49-F238E27FC236}">
                <a16:creationId xmlns:a16="http://schemas.microsoft.com/office/drawing/2014/main" id="{B780E4A3-25C8-B22C-CD32-244EF59B95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42191" y="2963669"/>
            <a:ext cx="9693215" cy="930662"/>
          </a:xfrm>
        </p:spPr>
        <p:txBody>
          <a:bodyPr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1507650570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E00986E-F859-4519-9FF0-444F3B6293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441285"/>
            <a:ext cx="10515600" cy="1931418"/>
          </a:xfrm>
        </p:spPr>
        <p:txBody>
          <a:bodyPr anchor="ctr">
            <a:normAutofit/>
          </a:bodyPr>
          <a:lstStyle>
            <a:lvl1pPr>
              <a:defRPr sz="40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C5AFCC7-9F6A-41A1-A6FB-75F912BF4D3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399691"/>
            <a:ext cx="10515600" cy="802037"/>
          </a:xfrm>
        </p:spPr>
        <p:txBody>
          <a:bodyPr/>
          <a:lstStyle>
            <a:lvl1pPr marL="0" indent="0">
              <a:buNone/>
              <a:defRPr sz="2400">
                <a:solidFill>
                  <a:srgbClr val="54565A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7" name="Rectangle 11">
            <a:extLst>
              <a:ext uri="{FF2B5EF4-FFF2-40B4-BE49-F238E27FC236}">
                <a16:creationId xmlns:a16="http://schemas.microsoft.com/office/drawing/2014/main" id="{C78F4E4C-C7A2-4636-BE8E-CF37ED8E2AD7}"/>
              </a:ext>
            </a:extLst>
          </p:cNvPr>
          <p:cNvSpPr/>
          <p:nvPr userDrawn="1"/>
        </p:nvSpPr>
        <p:spPr>
          <a:xfrm>
            <a:off x="407880" y="6459410"/>
            <a:ext cx="11772000" cy="3899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8" name="Agrupar 7">
            <a:extLst>
              <a:ext uri="{FF2B5EF4-FFF2-40B4-BE49-F238E27FC236}">
                <a16:creationId xmlns:a16="http://schemas.microsoft.com/office/drawing/2014/main" id="{49A93563-E284-4B4F-9C3E-23C155EE3611}"/>
              </a:ext>
            </a:extLst>
          </p:cNvPr>
          <p:cNvGrpSpPr/>
          <p:nvPr userDrawn="1"/>
        </p:nvGrpSpPr>
        <p:grpSpPr>
          <a:xfrm>
            <a:off x="-1220" y="458072"/>
            <a:ext cx="266758" cy="6408000"/>
            <a:chOff x="-7945" y="458072"/>
            <a:chExt cx="324001" cy="4691778"/>
          </a:xfrm>
        </p:grpSpPr>
        <p:sp>
          <p:nvSpPr>
            <p:cNvPr id="9" name="Rectangle">
              <a:extLst>
                <a:ext uri="{FF2B5EF4-FFF2-40B4-BE49-F238E27FC236}">
                  <a16:creationId xmlns:a16="http://schemas.microsoft.com/office/drawing/2014/main" id="{2B46A1B4-DED1-40FA-ADDE-80B6F2BC2A3A}"/>
                </a:ext>
              </a:extLst>
            </p:cNvPr>
            <p:cNvSpPr/>
            <p:nvPr/>
          </p:nvSpPr>
          <p:spPr>
            <a:xfrm rot="5400000">
              <a:off x="-1973196" y="2860600"/>
              <a:ext cx="4254501" cy="324000"/>
            </a:xfrm>
            <a:prstGeom prst="rect">
              <a:avLst/>
            </a:prstGeom>
            <a:solidFill>
              <a:srgbClr val="051682"/>
            </a:solidFill>
            <a:ln w="12700">
              <a:miter lim="400000"/>
            </a:ln>
          </p:spPr>
          <p:txBody>
            <a:bodyPr lIns="45718" tIns="45718" rIns="45718" bIns="45718" anchor="ctr"/>
            <a:lstStyle/>
            <a:p>
              <a:endParaRPr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10" name="Image" descr="Image">
              <a:extLst>
                <a:ext uri="{FF2B5EF4-FFF2-40B4-BE49-F238E27FC236}">
                  <a16:creationId xmlns:a16="http://schemas.microsoft.com/office/drawing/2014/main" id="{67C41081-3432-4818-9A12-12D826B94D2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7885" y="458072"/>
              <a:ext cx="323941" cy="437184"/>
            </a:xfrm>
            <a:prstGeom prst="rect">
              <a:avLst/>
            </a:prstGeom>
            <a:ln w="12700">
              <a:miter lim="400000"/>
            </a:ln>
          </p:spPr>
        </p:pic>
      </p:grpSp>
    </p:spTree>
    <p:extLst>
      <p:ext uri="{BB962C8B-B14F-4D97-AF65-F5344CB8AC3E}">
        <p14:creationId xmlns:p14="http://schemas.microsoft.com/office/powerpoint/2010/main" val="4105179914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F31EA57-B1E5-47AC-AC5F-7CF0A4223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344" y="227104"/>
            <a:ext cx="9859992" cy="792000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0F60C149-70FA-4424-90BD-746F96BA0E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9344" y="1690539"/>
            <a:ext cx="11274724" cy="4805152"/>
          </a:xfrm>
        </p:spPr>
        <p:txBody>
          <a:bodyPr/>
          <a:lstStyle>
            <a:lvl1pPr>
              <a:defRPr>
                <a:solidFill>
                  <a:srgbClr val="54565A"/>
                </a:solidFill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2" name="Espaço Reservado para Conteúdo 11">
            <a:extLst>
              <a:ext uri="{FF2B5EF4-FFF2-40B4-BE49-F238E27FC236}">
                <a16:creationId xmlns:a16="http://schemas.microsoft.com/office/drawing/2014/main" id="{1827E555-8F90-4A12-8F43-D37C1BBA588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69344" y="1111877"/>
            <a:ext cx="11274724" cy="484011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rgbClr val="29B6FF"/>
                </a:solidFill>
              </a:defRPr>
            </a:lvl1pPr>
            <a:lvl2pPr>
              <a:defRPr>
                <a:solidFill>
                  <a:srgbClr val="29B6FF"/>
                </a:solidFill>
              </a:defRPr>
            </a:lvl2pPr>
            <a:lvl3pPr>
              <a:defRPr>
                <a:solidFill>
                  <a:srgbClr val="29B6FF"/>
                </a:solidFill>
              </a:defRPr>
            </a:lvl3pPr>
            <a:lvl4pPr>
              <a:defRPr>
                <a:solidFill>
                  <a:srgbClr val="29B6FF"/>
                </a:solidFill>
              </a:defRPr>
            </a:lvl4pPr>
            <a:lvl5pPr>
              <a:defRPr>
                <a:solidFill>
                  <a:srgbClr val="29B6FF"/>
                </a:solidFill>
              </a:defRPr>
            </a:lvl5pPr>
          </a:lstStyle>
          <a:p>
            <a:pPr lvl="0"/>
            <a:r>
              <a:rPr lang="pt-BR"/>
              <a:t>Clique para editar os estilos de texto Mestre</a:t>
            </a:r>
          </a:p>
        </p:txBody>
      </p:sp>
      <p:sp>
        <p:nvSpPr>
          <p:cNvPr id="6" name="Espaço Reservado para Número de Slide 6">
            <a:extLst>
              <a:ext uri="{FF2B5EF4-FFF2-40B4-BE49-F238E27FC236}">
                <a16:creationId xmlns:a16="http://schemas.microsoft.com/office/drawing/2014/main" id="{ABBFAE6B-7A3A-32FB-AB0C-F64C47BA55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6161" y="6600357"/>
            <a:ext cx="677577" cy="21451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00A7E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386E9D1-5D70-4295-8BC3-EE421546933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35130112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F31EA57-B1E5-47AC-AC5F-7CF0A4223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344" y="227104"/>
            <a:ext cx="9859992" cy="792000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0F60C149-70FA-4424-90BD-746F96BA0E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9344" y="1690539"/>
            <a:ext cx="7211682" cy="4805152"/>
          </a:xfrm>
        </p:spPr>
        <p:txBody>
          <a:bodyPr>
            <a:normAutofit/>
          </a:bodyPr>
          <a:lstStyle>
            <a:lvl1pPr>
              <a:defRPr sz="2000">
                <a:solidFill>
                  <a:srgbClr val="54565A"/>
                </a:solidFill>
              </a:defRPr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2" name="Espaço Reservado para Conteúdo 11">
            <a:extLst>
              <a:ext uri="{FF2B5EF4-FFF2-40B4-BE49-F238E27FC236}">
                <a16:creationId xmlns:a16="http://schemas.microsoft.com/office/drawing/2014/main" id="{1827E555-8F90-4A12-8F43-D37C1BBA588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69344" y="1111877"/>
            <a:ext cx="7211682" cy="484011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rgbClr val="29B6FF"/>
                </a:solidFill>
              </a:defRPr>
            </a:lvl1pPr>
            <a:lvl2pPr>
              <a:defRPr>
                <a:solidFill>
                  <a:srgbClr val="29B6FF"/>
                </a:solidFill>
              </a:defRPr>
            </a:lvl2pPr>
            <a:lvl3pPr>
              <a:defRPr>
                <a:solidFill>
                  <a:srgbClr val="29B6FF"/>
                </a:solidFill>
              </a:defRPr>
            </a:lvl3pPr>
            <a:lvl4pPr>
              <a:defRPr>
                <a:solidFill>
                  <a:srgbClr val="29B6FF"/>
                </a:solidFill>
              </a:defRPr>
            </a:lvl4pPr>
            <a:lvl5pPr>
              <a:defRPr>
                <a:solidFill>
                  <a:srgbClr val="29B6FF"/>
                </a:solidFill>
              </a:defRPr>
            </a:lvl5pPr>
          </a:lstStyle>
          <a:p>
            <a:pPr lvl="0"/>
            <a:r>
              <a:rPr lang="pt-BR"/>
              <a:t>Clique para editar os estilos de texto Mestre</a:t>
            </a:r>
          </a:p>
        </p:txBody>
      </p:sp>
      <p:sp>
        <p:nvSpPr>
          <p:cNvPr id="5" name="Espaço Reservado para Imagem 4">
            <a:extLst>
              <a:ext uri="{FF2B5EF4-FFF2-40B4-BE49-F238E27FC236}">
                <a16:creationId xmlns:a16="http://schemas.microsoft.com/office/drawing/2014/main" id="{39D0B642-429F-CFE1-9D8F-F630D7F287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901796" y="1111250"/>
            <a:ext cx="3942543" cy="5384800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515F5F57-76F8-BEB5-51C6-2AC0226A1B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6161" y="6600357"/>
            <a:ext cx="677577" cy="21451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00A7E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386E9D1-5D70-4295-8BC3-EE421546933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71466095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F31EA57-B1E5-47AC-AC5F-7CF0A4223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344" y="227104"/>
            <a:ext cx="9859992" cy="792000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2" name="Espaço Reservado para Conteúdo 11">
            <a:extLst>
              <a:ext uri="{FF2B5EF4-FFF2-40B4-BE49-F238E27FC236}">
                <a16:creationId xmlns:a16="http://schemas.microsoft.com/office/drawing/2014/main" id="{1827E555-8F90-4A12-8F43-D37C1BBA588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69344" y="1111877"/>
            <a:ext cx="11274724" cy="484011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rgbClr val="29B6FF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rgbClr val="29B6FF"/>
                </a:solidFill>
              </a:defRPr>
            </a:lvl2pPr>
            <a:lvl3pPr>
              <a:defRPr>
                <a:solidFill>
                  <a:srgbClr val="29B6FF"/>
                </a:solidFill>
              </a:defRPr>
            </a:lvl3pPr>
            <a:lvl4pPr>
              <a:defRPr>
                <a:solidFill>
                  <a:srgbClr val="29B6FF"/>
                </a:solidFill>
              </a:defRPr>
            </a:lvl4pPr>
            <a:lvl5pPr>
              <a:defRPr>
                <a:solidFill>
                  <a:srgbClr val="29B6FF"/>
                </a:solidFill>
              </a:defRPr>
            </a:lvl5pPr>
          </a:lstStyle>
          <a:p>
            <a:pPr lvl="0"/>
            <a:r>
              <a:rPr lang="pt-BR"/>
              <a:t>Clique para editar os estilos de texto Mestre</a:t>
            </a:r>
          </a:p>
        </p:txBody>
      </p:sp>
      <p:sp>
        <p:nvSpPr>
          <p:cNvPr id="5" name="Espaço Reservado para Número de Slide 6">
            <a:extLst>
              <a:ext uri="{FF2B5EF4-FFF2-40B4-BE49-F238E27FC236}">
                <a16:creationId xmlns:a16="http://schemas.microsoft.com/office/drawing/2014/main" id="{57F8C3E7-F9B2-0A2A-297C-1482A6E20F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6161" y="6600357"/>
            <a:ext cx="677577" cy="21451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00A7E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386E9D1-5D70-4295-8BC3-EE421546933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03786978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8827FA46-A973-4D16-AFF1-60BFB5CCD0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344" y="227105"/>
            <a:ext cx="9859992" cy="79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2BCB8DF6-88EE-49FC-81A3-3025A7AE65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9344" y="1155940"/>
            <a:ext cx="11274724" cy="53311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lang="pt-BR"/>
          </a:p>
          <a:p>
            <a:pPr lvl="1"/>
            <a:endParaRPr lang="pt-BR"/>
          </a:p>
          <a:p>
            <a:pPr lvl="2"/>
            <a:endParaRPr lang="pt-BR"/>
          </a:p>
          <a:p>
            <a:pPr lvl="2"/>
            <a:endParaRPr lang="pt-BR"/>
          </a:p>
        </p:txBody>
      </p:sp>
      <p:pic>
        <p:nvPicPr>
          <p:cNvPr id="7" name="Image">
            <a:extLst>
              <a:ext uri="{FF2B5EF4-FFF2-40B4-BE49-F238E27FC236}">
                <a16:creationId xmlns:a16="http://schemas.microsoft.com/office/drawing/2014/main" id="{02238F26-FCBD-4136-9CCF-D0B755C12AEB}"/>
              </a:ext>
            </a:extLst>
          </p:cNvPr>
          <p:cNvPicPr>
            <a:picLocks noChangeAspect="1"/>
          </p:cNvPicPr>
          <p:nvPr userDrawn="1"/>
        </p:nvPicPr>
        <p:blipFill>
          <a:blip r:embed="rId3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596"/>
          <a:stretch>
            <a:fillRect/>
          </a:stretch>
        </p:blipFill>
        <p:spPr>
          <a:xfrm>
            <a:off x="10446589" y="155281"/>
            <a:ext cx="1498540" cy="576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8" name="Agrupar 7">
            <a:extLst>
              <a:ext uri="{FF2B5EF4-FFF2-40B4-BE49-F238E27FC236}">
                <a16:creationId xmlns:a16="http://schemas.microsoft.com/office/drawing/2014/main" id="{6374C4FB-B7F6-4B0E-A357-D68D36985D57}"/>
              </a:ext>
            </a:extLst>
          </p:cNvPr>
          <p:cNvGrpSpPr/>
          <p:nvPr userDrawn="1"/>
        </p:nvGrpSpPr>
        <p:grpSpPr>
          <a:xfrm>
            <a:off x="569344" y="6592689"/>
            <a:ext cx="11628000" cy="265490"/>
            <a:chOff x="236338" y="4801393"/>
            <a:chExt cx="8912299" cy="342108"/>
          </a:xfrm>
        </p:grpSpPr>
        <p:sp>
          <p:nvSpPr>
            <p:cNvPr id="9" name="Rectangle">
              <a:extLst>
                <a:ext uri="{FF2B5EF4-FFF2-40B4-BE49-F238E27FC236}">
                  <a16:creationId xmlns:a16="http://schemas.microsoft.com/office/drawing/2014/main" id="{2AEA1FC8-88EA-45BB-8BF4-B0E1A0BF3BEA}"/>
                </a:ext>
              </a:extLst>
            </p:cNvPr>
            <p:cNvSpPr/>
            <p:nvPr/>
          </p:nvSpPr>
          <p:spPr>
            <a:xfrm>
              <a:off x="644440" y="4801393"/>
              <a:ext cx="8504197" cy="342107"/>
            </a:xfrm>
            <a:prstGeom prst="rect">
              <a:avLst/>
            </a:prstGeom>
            <a:solidFill>
              <a:srgbClr val="051682"/>
            </a:solidFill>
            <a:ln w="12700">
              <a:miter lim="400000"/>
            </a:ln>
          </p:spPr>
          <p:txBody>
            <a:bodyPr lIns="45718" tIns="45718" rIns="45718" bIns="45718" anchor="ctr"/>
            <a:lstStyle/>
            <a:p>
              <a:endParaRPr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10" name="Image" descr="Image">
              <a:extLst>
                <a:ext uri="{FF2B5EF4-FFF2-40B4-BE49-F238E27FC236}">
                  <a16:creationId xmlns:a16="http://schemas.microsoft.com/office/drawing/2014/main" id="{8C3F197F-8CD6-4EE4-9519-AEC52F49BF36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286195" y="4751598"/>
              <a:ext cx="342046" cy="441759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18" name="Espaço Reservado para Número de Slide 6">
            <a:extLst>
              <a:ext uri="{FF2B5EF4-FFF2-40B4-BE49-F238E27FC236}">
                <a16:creationId xmlns:a16="http://schemas.microsoft.com/office/drawing/2014/main" id="{62A081D2-8AFF-48F3-BDB2-0C889AC19A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6161" y="6600357"/>
            <a:ext cx="677577" cy="21451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00A7E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386E9D1-5D70-4295-8BC3-EE421546933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04448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740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</p:sldLayoutIdLst>
  <p:transition/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rgbClr val="001689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Clr>
          <a:srgbClr val="29B6FF"/>
        </a:buClr>
        <a:buFont typeface="Arial" pitchFamily="34" charset="0"/>
        <a:buChar char="•"/>
        <a:defRPr sz="2400" kern="1200">
          <a:solidFill>
            <a:srgbClr val="54565A"/>
          </a:solidFill>
          <a:latin typeface="Arial" pitchFamily="34" charset="0"/>
          <a:ea typeface="+mn-ea"/>
          <a:cs typeface="Arial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2000" kern="1200">
          <a:solidFill>
            <a:srgbClr val="54565A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1800" kern="1200">
          <a:solidFill>
            <a:srgbClr val="54565A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5.png"/><Relationship Id="rId11" Type="http://schemas.openxmlformats.org/officeDocument/2006/relationships/image" Target="../media/image40.png"/><Relationship Id="rId5" Type="http://schemas.openxmlformats.org/officeDocument/2006/relationships/image" Target="../media/image34.png"/><Relationship Id="rId10" Type="http://schemas.openxmlformats.org/officeDocument/2006/relationships/image" Target="../media/image39.png"/><Relationship Id="rId4" Type="http://schemas.openxmlformats.org/officeDocument/2006/relationships/image" Target="../media/image33.png"/><Relationship Id="rId9" Type="http://schemas.openxmlformats.org/officeDocument/2006/relationships/image" Target="../media/image3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10" Type="http://schemas.openxmlformats.org/officeDocument/2006/relationships/image" Target="../media/image48.png"/><Relationship Id="rId4" Type="http://schemas.openxmlformats.org/officeDocument/2006/relationships/image" Target="../media/image42.png"/><Relationship Id="rId9" Type="http://schemas.openxmlformats.org/officeDocument/2006/relationships/image" Target="../media/image47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49.png"/><Relationship Id="rId7" Type="http://schemas.openxmlformats.org/officeDocument/2006/relationships/image" Target="../media/image5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7" Type="http://schemas.openxmlformats.org/officeDocument/2006/relationships/image" Target="../media/image60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image" Target="../media/image61.png"/><Relationship Id="rId7" Type="http://schemas.openxmlformats.org/officeDocument/2006/relationships/image" Target="../media/image6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7" Type="http://schemas.openxmlformats.org/officeDocument/2006/relationships/image" Target="../media/image81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80.png"/><Relationship Id="rId5" Type="http://schemas.openxmlformats.org/officeDocument/2006/relationships/image" Target="../media/image79.png"/><Relationship Id="rId4" Type="http://schemas.openxmlformats.org/officeDocument/2006/relationships/image" Target="../media/image7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7" Type="http://schemas.openxmlformats.org/officeDocument/2006/relationships/image" Target="../media/image87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8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7" Type="http://schemas.openxmlformats.org/officeDocument/2006/relationships/image" Target="../media/image93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92.png"/><Relationship Id="rId5" Type="http://schemas.openxmlformats.org/officeDocument/2006/relationships/image" Target="../media/image91.png"/><Relationship Id="rId4" Type="http://schemas.openxmlformats.org/officeDocument/2006/relationships/image" Target="../media/image90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7" Type="http://schemas.openxmlformats.org/officeDocument/2006/relationships/image" Target="../media/image99.png"/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98.png"/><Relationship Id="rId5" Type="http://schemas.openxmlformats.org/officeDocument/2006/relationships/image" Target="../media/image97.png"/><Relationship Id="rId4" Type="http://schemas.openxmlformats.org/officeDocument/2006/relationships/image" Target="../media/image9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7" Type="http://schemas.openxmlformats.org/officeDocument/2006/relationships/image" Target="../media/image105.png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04.png"/><Relationship Id="rId5" Type="http://schemas.openxmlformats.org/officeDocument/2006/relationships/image" Target="../media/image103.png"/><Relationship Id="rId4" Type="http://schemas.openxmlformats.org/officeDocument/2006/relationships/image" Target="../media/image10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09.png"/><Relationship Id="rId4" Type="http://schemas.openxmlformats.org/officeDocument/2006/relationships/image" Target="../media/image108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7" Type="http://schemas.openxmlformats.org/officeDocument/2006/relationships/image" Target="../media/image115.png"/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14.png"/><Relationship Id="rId5" Type="http://schemas.openxmlformats.org/officeDocument/2006/relationships/image" Target="../media/image113.png"/><Relationship Id="rId4" Type="http://schemas.openxmlformats.org/officeDocument/2006/relationships/image" Target="../media/image112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7" Type="http://schemas.openxmlformats.org/officeDocument/2006/relationships/image" Target="../media/image121.png"/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20.png"/><Relationship Id="rId5" Type="http://schemas.openxmlformats.org/officeDocument/2006/relationships/image" Target="../media/image119.png"/><Relationship Id="rId4" Type="http://schemas.openxmlformats.org/officeDocument/2006/relationships/image" Target="../media/image118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7.png"/><Relationship Id="rId3" Type="http://schemas.openxmlformats.org/officeDocument/2006/relationships/image" Target="../media/image122.png"/><Relationship Id="rId7" Type="http://schemas.openxmlformats.org/officeDocument/2006/relationships/image" Target="../media/image12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25.png"/><Relationship Id="rId5" Type="http://schemas.openxmlformats.org/officeDocument/2006/relationships/image" Target="../media/image124.png"/><Relationship Id="rId4" Type="http://schemas.openxmlformats.org/officeDocument/2006/relationships/image" Target="../media/image12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png"/><Relationship Id="rId7" Type="http://schemas.openxmlformats.org/officeDocument/2006/relationships/image" Target="../media/image13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31.png"/><Relationship Id="rId5" Type="http://schemas.openxmlformats.org/officeDocument/2006/relationships/image" Target="../media/image130.png"/><Relationship Id="rId4" Type="http://schemas.openxmlformats.org/officeDocument/2006/relationships/image" Target="../media/image129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8.png"/><Relationship Id="rId3" Type="http://schemas.openxmlformats.org/officeDocument/2006/relationships/image" Target="../media/image133.png"/><Relationship Id="rId7" Type="http://schemas.openxmlformats.org/officeDocument/2006/relationships/image" Target="../media/image13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36.png"/><Relationship Id="rId5" Type="http://schemas.openxmlformats.org/officeDocument/2006/relationships/image" Target="../media/image135.png"/><Relationship Id="rId4" Type="http://schemas.openxmlformats.org/officeDocument/2006/relationships/image" Target="../media/image134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png"/><Relationship Id="rId2" Type="http://schemas.openxmlformats.org/officeDocument/2006/relationships/image" Target="../media/image139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42.png"/><Relationship Id="rId4" Type="http://schemas.openxmlformats.org/officeDocument/2006/relationships/image" Target="../media/image141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png"/><Relationship Id="rId7" Type="http://schemas.openxmlformats.org/officeDocument/2006/relationships/image" Target="../media/image14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46.png"/><Relationship Id="rId5" Type="http://schemas.openxmlformats.org/officeDocument/2006/relationships/image" Target="../media/image145.png"/><Relationship Id="rId4" Type="http://schemas.openxmlformats.org/officeDocument/2006/relationships/image" Target="../media/image144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3.png"/><Relationship Id="rId3" Type="http://schemas.openxmlformats.org/officeDocument/2006/relationships/image" Target="../media/image148.png"/><Relationship Id="rId7" Type="http://schemas.openxmlformats.org/officeDocument/2006/relationships/image" Target="../media/image15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51.png"/><Relationship Id="rId5" Type="http://schemas.openxmlformats.org/officeDocument/2006/relationships/image" Target="../media/image150.png"/><Relationship Id="rId4" Type="http://schemas.openxmlformats.org/officeDocument/2006/relationships/image" Target="../media/image149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4.png"/><Relationship Id="rId7" Type="http://schemas.openxmlformats.org/officeDocument/2006/relationships/image" Target="../media/image15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57.png"/><Relationship Id="rId5" Type="http://schemas.openxmlformats.org/officeDocument/2006/relationships/image" Target="../media/image156.png"/><Relationship Id="rId4" Type="http://schemas.openxmlformats.org/officeDocument/2006/relationships/image" Target="../media/image155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0.png"/><Relationship Id="rId2" Type="http://schemas.openxmlformats.org/officeDocument/2006/relationships/image" Target="../media/image159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63.png"/><Relationship Id="rId5" Type="http://schemas.openxmlformats.org/officeDocument/2006/relationships/image" Target="../media/image162.png"/><Relationship Id="rId4" Type="http://schemas.openxmlformats.org/officeDocument/2006/relationships/image" Target="../media/image161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5.png"/><Relationship Id="rId2" Type="http://schemas.openxmlformats.org/officeDocument/2006/relationships/image" Target="../media/image164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68.png"/><Relationship Id="rId5" Type="http://schemas.openxmlformats.org/officeDocument/2006/relationships/image" Target="../media/image167.png"/><Relationship Id="rId4" Type="http://schemas.openxmlformats.org/officeDocument/2006/relationships/image" Target="../media/image166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0.png"/><Relationship Id="rId7" Type="http://schemas.openxmlformats.org/officeDocument/2006/relationships/image" Target="../media/image174.png"/><Relationship Id="rId2" Type="http://schemas.openxmlformats.org/officeDocument/2006/relationships/image" Target="../media/image169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73.png"/><Relationship Id="rId5" Type="http://schemas.openxmlformats.org/officeDocument/2006/relationships/image" Target="../media/image172.png"/><Relationship Id="rId4" Type="http://schemas.openxmlformats.org/officeDocument/2006/relationships/image" Target="../media/image171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6.png"/><Relationship Id="rId2" Type="http://schemas.openxmlformats.org/officeDocument/2006/relationships/image" Target="../media/image175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77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81.png"/><Relationship Id="rId5" Type="http://schemas.openxmlformats.org/officeDocument/2006/relationships/image" Target="../media/image180.png"/><Relationship Id="rId4" Type="http://schemas.openxmlformats.org/officeDocument/2006/relationships/image" Target="../media/image179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3.png"/><Relationship Id="rId7" Type="http://schemas.openxmlformats.org/officeDocument/2006/relationships/image" Target="../media/image187.png"/><Relationship Id="rId2" Type="http://schemas.openxmlformats.org/officeDocument/2006/relationships/image" Target="../media/image182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86.png"/><Relationship Id="rId5" Type="http://schemas.openxmlformats.org/officeDocument/2006/relationships/image" Target="../media/image185.png"/><Relationship Id="rId4" Type="http://schemas.openxmlformats.org/officeDocument/2006/relationships/image" Target="../media/image184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9.png"/><Relationship Id="rId2" Type="http://schemas.openxmlformats.org/officeDocument/2006/relationships/image" Target="../media/image188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92.png"/><Relationship Id="rId5" Type="http://schemas.openxmlformats.org/officeDocument/2006/relationships/image" Target="../media/image191.png"/><Relationship Id="rId4" Type="http://schemas.openxmlformats.org/officeDocument/2006/relationships/image" Target="../media/image190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4.png"/><Relationship Id="rId7" Type="http://schemas.openxmlformats.org/officeDocument/2006/relationships/image" Target="../media/image198.png"/><Relationship Id="rId2" Type="http://schemas.openxmlformats.org/officeDocument/2006/relationships/image" Target="../media/image193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97.png"/><Relationship Id="rId5" Type="http://schemas.openxmlformats.org/officeDocument/2006/relationships/image" Target="../media/image196.png"/><Relationship Id="rId4" Type="http://schemas.openxmlformats.org/officeDocument/2006/relationships/image" Target="../media/image195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0.png"/><Relationship Id="rId7" Type="http://schemas.openxmlformats.org/officeDocument/2006/relationships/image" Target="../media/image204.png"/><Relationship Id="rId2" Type="http://schemas.openxmlformats.org/officeDocument/2006/relationships/image" Target="../media/image199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03.png"/><Relationship Id="rId5" Type="http://schemas.openxmlformats.org/officeDocument/2006/relationships/image" Target="../media/image202.png"/><Relationship Id="rId4" Type="http://schemas.openxmlformats.org/officeDocument/2006/relationships/image" Target="../media/image201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6.png"/><Relationship Id="rId2" Type="http://schemas.openxmlformats.org/officeDocument/2006/relationships/image" Target="../media/image205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07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D8FCE3B-B6CC-80B3-469D-E2ED342C32B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s-ES" sz="4000"/>
              <a:t>OPSENG Proyectos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05164396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2FAC701-87A3-9FB0-AAF2-5209E8C424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/>
              <a:t>Relevamiento de BW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8B2BD9FA-E5C1-192B-0D09-E0629A9B2CF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072F5196-17A3-A5D8-CE77-C179807CA5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36765683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65BBC10-AC6A-A6B8-EE35-CB56D2C0C3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344" y="159370"/>
            <a:ext cx="9859992" cy="792000"/>
          </a:xfrm>
        </p:spPr>
        <p:txBody>
          <a:bodyPr/>
          <a:lstStyle/>
          <a:p>
            <a:r>
              <a:rPr lang="es-AR" err="1"/>
              <a:t>Legacy</a:t>
            </a:r>
            <a:endParaRPr lang="es-AR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5CC8191A-EBFE-9317-6D15-909E64DDD60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C401026C-F153-7C03-C416-8EAA7D0BFA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t>1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2301088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08C058-3586-3E15-3840-566D0EE482C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A86BCA8B-C15E-E482-3B1F-2F29C4D63E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t>12</a:t>
            </a:fld>
            <a:endParaRPr lang="pt-BR"/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17318A37-7B7A-D198-9369-29A48BBA83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/>
              <a:t>BGP MOSS &lt;&gt; DCN</a:t>
            </a:r>
          </a:p>
        </p:txBody>
      </p:sp>
    </p:spTree>
    <p:extLst>
      <p:ext uri="{BB962C8B-B14F-4D97-AF65-F5344CB8AC3E}">
        <p14:creationId xmlns:p14="http://schemas.microsoft.com/office/powerpoint/2010/main" val="3815105417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74A72CB-D710-2A10-80CE-96D669265D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/>
              <a:t>CarveOut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F199BE30-35F4-1AFC-99F7-0947E9EB1DDC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7FC34EB1-1D09-318F-C925-C3859B8F42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t>1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10864239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06AD458A-DEE0-5CF1-ECE7-91A0A9E291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/>
              <a:t>Pilares de Soluciones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BEAD62BA-691D-8707-6E3A-631D921D3F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14</a:t>
            </a:fld>
            <a:endParaRPr lang="pt-BR"/>
          </a:p>
        </p:txBody>
      </p:sp>
      <p:sp>
        <p:nvSpPr>
          <p:cNvPr id="45" name="TextBox 21">
            <a:extLst>
              <a:ext uri="{FF2B5EF4-FFF2-40B4-BE49-F238E27FC236}">
                <a16:creationId xmlns:a16="http://schemas.microsoft.com/office/drawing/2014/main" id="{369F6C68-0871-E1AB-5E67-84B4A5E28DBF}"/>
              </a:ext>
            </a:extLst>
          </p:cNvPr>
          <p:cNvSpPr txBox="1"/>
          <p:nvPr/>
        </p:nvSpPr>
        <p:spPr>
          <a:xfrm>
            <a:off x="571684" y="2582766"/>
            <a:ext cx="17321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calable Networks &amp; Content</a:t>
            </a:r>
          </a:p>
        </p:txBody>
      </p:sp>
      <p:sp>
        <p:nvSpPr>
          <p:cNvPr id="46" name="TextBox 23">
            <a:extLst>
              <a:ext uri="{FF2B5EF4-FFF2-40B4-BE49-F238E27FC236}">
                <a16:creationId xmlns:a16="http://schemas.microsoft.com/office/drawing/2014/main" id="{6374D3B2-69BB-BA20-EE45-90C56853E803}"/>
              </a:ext>
            </a:extLst>
          </p:cNvPr>
          <p:cNvSpPr txBox="1"/>
          <p:nvPr/>
        </p:nvSpPr>
        <p:spPr>
          <a:xfrm>
            <a:off x="2886539" y="2582765"/>
            <a:ext cx="17321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Data Center &amp; Hybrid Cloud</a:t>
            </a:r>
          </a:p>
        </p:txBody>
      </p:sp>
      <p:sp>
        <p:nvSpPr>
          <p:cNvPr id="47" name="TextBox 27">
            <a:extLst>
              <a:ext uri="{FF2B5EF4-FFF2-40B4-BE49-F238E27FC236}">
                <a16:creationId xmlns:a16="http://schemas.microsoft.com/office/drawing/2014/main" id="{4D9EB588-FCB1-ED78-0FC7-2D2A15162035}"/>
              </a:ext>
            </a:extLst>
          </p:cNvPr>
          <p:cNvSpPr txBox="1"/>
          <p:nvPr/>
        </p:nvSpPr>
        <p:spPr>
          <a:xfrm>
            <a:off x="5458141" y="2615578"/>
            <a:ext cx="1625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Integrated Security</a:t>
            </a:r>
          </a:p>
        </p:txBody>
      </p:sp>
      <p:sp>
        <p:nvSpPr>
          <p:cNvPr id="48" name="TextBox 30">
            <a:extLst>
              <a:ext uri="{FF2B5EF4-FFF2-40B4-BE49-F238E27FC236}">
                <a16:creationId xmlns:a16="http://schemas.microsoft.com/office/drawing/2014/main" id="{435E03FD-8F0E-6629-8389-CE281A48C153}"/>
              </a:ext>
            </a:extLst>
          </p:cNvPr>
          <p:cNvSpPr txBox="1"/>
          <p:nvPr/>
        </p:nvSpPr>
        <p:spPr>
          <a:xfrm>
            <a:off x="7573267" y="2606639"/>
            <a:ext cx="22443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Voice &amp; Collaboration</a:t>
            </a:r>
          </a:p>
        </p:txBody>
      </p:sp>
      <p:sp>
        <p:nvSpPr>
          <p:cNvPr id="49" name="TextBox 9">
            <a:extLst>
              <a:ext uri="{FF2B5EF4-FFF2-40B4-BE49-F238E27FC236}">
                <a16:creationId xmlns:a16="http://schemas.microsoft.com/office/drawing/2014/main" id="{30EF3F77-BAF3-F477-9983-0CE22D8BF809}"/>
              </a:ext>
            </a:extLst>
          </p:cNvPr>
          <p:cNvSpPr txBox="1"/>
          <p:nvPr/>
        </p:nvSpPr>
        <p:spPr>
          <a:xfrm>
            <a:off x="10120567" y="2582765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Managed Services</a:t>
            </a:r>
          </a:p>
        </p:txBody>
      </p:sp>
      <p:pic>
        <p:nvPicPr>
          <p:cNvPr id="50" name="Picture 3">
            <a:extLst>
              <a:ext uri="{FF2B5EF4-FFF2-40B4-BE49-F238E27FC236}">
                <a16:creationId xmlns:a16="http://schemas.microsoft.com/office/drawing/2014/main" id="{3A7252DE-7FA3-B268-ADFD-E9ADA768EB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96010" y="3279191"/>
            <a:ext cx="1683544" cy="151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1" name="Picture 5">
            <a:extLst>
              <a:ext uri="{FF2B5EF4-FFF2-40B4-BE49-F238E27FC236}">
                <a16:creationId xmlns:a16="http://schemas.microsoft.com/office/drawing/2014/main" id="{3E0E58BC-3022-3925-3107-926FE64F1F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72790" y="3279191"/>
            <a:ext cx="1359694" cy="1035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2" name="Picture 4">
            <a:extLst>
              <a:ext uri="{FF2B5EF4-FFF2-40B4-BE49-F238E27FC236}">
                <a16:creationId xmlns:a16="http://schemas.microsoft.com/office/drawing/2014/main" id="{D5288EB2-0BA4-8C6A-BE40-80122333E0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587522" y="3279191"/>
            <a:ext cx="1366838" cy="1045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3" name="Picture 6">
            <a:extLst>
              <a:ext uri="{FF2B5EF4-FFF2-40B4-BE49-F238E27FC236}">
                <a16:creationId xmlns:a16="http://schemas.microsoft.com/office/drawing/2014/main" id="{DD51AF79-A331-6505-4AAB-4AC78813A2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185844" y="3279191"/>
            <a:ext cx="1019175" cy="13835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4" name="Picture 7">
            <a:extLst>
              <a:ext uri="{FF2B5EF4-FFF2-40B4-BE49-F238E27FC236}">
                <a16:creationId xmlns:a16="http://schemas.microsoft.com/office/drawing/2014/main" id="{623EC233-AAA5-51FB-0DDA-23B0820819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336584" y="3279191"/>
            <a:ext cx="1300163" cy="97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38745732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06AD458A-DEE0-5CF1-ECE7-91A0A9E291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/>
              <a:t>Soluciones de </a:t>
            </a:r>
            <a:r>
              <a:rPr lang="pt-BR" err="1"/>
              <a:t>la</a:t>
            </a:r>
            <a:r>
              <a:rPr lang="pt-BR"/>
              <a:t> plataforma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BEAD62BA-691D-8707-6E3A-631D921D3F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15</a:t>
            </a:fld>
            <a:endParaRPr lang="pt-BR"/>
          </a:p>
        </p:txBody>
      </p:sp>
      <p:sp>
        <p:nvSpPr>
          <p:cNvPr id="45" name="TextBox 21">
            <a:extLst>
              <a:ext uri="{FF2B5EF4-FFF2-40B4-BE49-F238E27FC236}">
                <a16:creationId xmlns:a16="http://schemas.microsoft.com/office/drawing/2014/main" id="{369F6C68-0871-E1AB-5E67-84B4A5E28DBF}"/>
              </a:ext>
            </a:extLst>
          </p:cNvPr>
          <p:cNvSpPr txBox="1"/>
          <p:nvPr/>
        </p:nvSpPr>
        <p:spPr>
          <a:xfrm>
            <a:off x="4393434" y="3270666"/>
            <a:ext cx="17321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calable Networks &amp; Content</a:t>
            </a:r>
          </a:p>
        </p:txBody>
      </p:sp>
      <p:sp>
        <p:nvSpPr>
          <p:cNvPr id="46" name="TextBox 23">
            <a:extLst>
              <a:ext uri="{FF2B5EF4-FFF2-40B4-BE49-F238E27FC236}">
                <a16:creationId xmlns:a16="http://schemas.microsoft.com/office/drawing/2014/main" id="{6374D3B2-69BB-BA20-EE45-90C56853E803}"/>
              </a:ext>
            </a:extLst>
          </p:cNvPr>
          <p:cNvSpPr txBox="1"/>
          <p:nvPr/>
        </p:nvSpPr>
        <p:spPr>
          <a:xfrm>
            <a:off x="1468256" y="3328183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loud</a:t>
            </a:r>
          </a:p>
        </p:txBody>
      </p:sp>
      <p:sp>
        <p:nvSpPr>
          <p:cNvPr id="47" name="TextBox 27">
            <a:extLst>
              <a:ext uri="{FF2B5EF4-FFF2-40B4-BE49-F238E27FC236}">
                <a16:creationId xmlns:a16="http://schemas.microsoft.com/office/drawing/2014/main" id="{4D9EB588-FCB1-ED78-0FC7-2D2A15162035}"/>
              </a:ext>
            </a:extLst>
          </p:cNvPr>
          <p:cNvSpPr txBox="1"/>
          <p:nvPr/>
        </p:nvSpPr>
        <p:spPr>
          <a:xfrm>
            <a:off x="6885750" y="3291200"/>
            <a:ext cx="21151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Data Center &amp; Hybrid Clou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3B7F29D-B6A9-22E2-545E-15A7B327516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6161" y="2246168"/>
            <a:ext cx="1324189" cy="93576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B8FAC16-EF05-828F-BAB9-517FEC409E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27041" y="1461883"/>
            <a:ext cx="1743067" cy="170797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B8D80FE-1CED-3679-4DE6-4CADBC84E4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66916" y="1564520"/>
            <a:ext cx="1732196" cy="162427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1B2C508-3EFF-25F9-A827-973A63DB4AA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5411" y="1667676"/>
            <a:ext cx="1512984" cy="1140704"/>
          </a:xfrm>
          <a:prstGeom prst="rect">
            <a:avLst/>
          </a:prstGeom>
        </p:spPr>
      </p:pic>
      <p:sp>
        <p:nvSpPr>
          <p:cNvPr id="22" name="TextBox 23">
            <a:extLst>
              <a:ext uri="{FF2B5EF4-FFF2-40B4-BE49-F238E27FC236}">
                <a16:creationId xmlns:a16="http://schemas.microsoft.com/office/drawing/2014/main" id="{CB15D388-0E22-7A9B-BB25-B175BB971BA1}"/>
              </a:ext>
            </a:extLst>
          </p:cNvPr>
          <p:cNvSpPr txBox="1"/>
          <p:nvPr/>
        </p:nvSpPr>
        <p:spPr>
          <a:xfrm>
            <a:off x="9604204" y="327323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AR" sz="1200">
                <a:latin typeface="Arial" panose="020B0604020202020204" pitchFamily="34" charset="0"/>
                <a:cs typeface="Arial" panose="020B0604020202020204" pitchFamily="34" charset="0"/>
              </a:rPr>
              <a:t>Malware</a:t>
            </a:r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6E7F284-6BD3-97C4-D78B-2FE77FDB34A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20458" y="4376520"/>
            <a:ext cx="944052" cy="1236859"/>
          </a:xfrm>
          <a:prstGeom prst="rect">
            <a:avLst/>
          </a:prstGeom>
        </p:spPr>
      </p:pic>
      <p:sp>
        <p:nvSpPr>
          <p:cNvPr id="25" name="TextBox 23">
            <a:extLst>
              <a:ext uri="{FF2B5EF4-FFF2-40B4-BE49-F238E27FC236}">
                <a16:creationId xmlns:a16="http://schemas.microsoft.com/office/drawing/2014/main" id="{DACC2B5B-5A4F-F83B-FFBB-4441199A9217}"/>
              </a:ext>
            </a:extLst>
          </p:cNvPr>
          <p:cNvSpPr txBox="1"/>
          <p:nvPr/>
        </p:nvSpPr>
        <p:spPr>
          <a:xfrm>
            <a:off x="1468256" y="588057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Integrated Security</a:t>
            </a:r>
          </a:p>
        </p:txBody>
      </p:sp>
      <p:sp>
        <p:nvSpPr>
          <p:cNvPr id="26" name="TextBox 23">
            <a:extLst>
              <a:ext uri="{FF2B5EF4-FFF2-40B4-BE49-F238E27FC236}">
                <a16:creationId xmlns:a16="http://schemas.microsoft.com/office/drawing/2014/main" id="{D577DC38-C234-C8DE-7D45-3FD96CD363DC}"/>
              </a:ext>
            </a:extLst>
          </p:cNvPr>
          <p:cNvSpPr txBox="1"/>
          <p:nvPr/>
        </p:nvSpPr>
        <p:spPr>
          <a:xfrm>
            <a:off x="6780221" y="5814348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Network Services</a:t>
            </a:r>
          </a:p>
        </p:txBody>
      </p:sp>
      <p:sp>
        <p:nvSpPr>
          <p:cNvPr id="27" name="TextBox 23">
            <a:extLst>
              <a:ext uri="{FF2B5EF4-FFF2-40B4-BE49-F238E27FC236}">
                <a16:creationId xmlns:a16="http://schemas.microsoft.com/office/drawing/2014/main" id="{21CBFD4C-4B94-C4D2-7C10-B05F7A136AEB}"/>
              </a:ext>
            </a:extLst>
          </p:cNvPr>
          <p:cNvSpPr txBox="1"/>
          <p:nvPr/>
        </p:nvSpPr>
        <p:spPr>
          <a:xfrm>
            <a:off x="4633242" y="5799226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AR" sz="120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en-US" sz="1200" err="1">
                <a:latin typeface="Arial" panose="020B0604020202020204" pitchFamily="34" charset="0"/>
                <a:cs typeface="Arial" panose="020B0604020202020204" pitchFamily="34" charset="0"/>
              </a:rPr>
              <a:t>ecurity</a:t>
            </a:r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3">
            <a:extLst>
              <a:ext uri="{FF2B5EF4-FFF2-40B4-BE49-F238E27FC236}">
                <a16:creationId xmlns:a16="http://schemas.microsoft.com/office/drawing/2014/main" id="{3E3BF901-1C91-DDCF-91CC-BFEC696BF63E}"/>
              </a:ext>
            </a:extLst>
          </p:cNvPr>
          <p:cNvSpPr txBox="1"/>
          <p:nvPr/>
        </p:nvSpPr>
        <p:spPr>
          <a:xfrm>
            <a:off x="9464477" y="5814347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AR" sz="120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en-US" sz="1200" err="1">
                <a:latin typeface="Arial" panose="020B0604020202020204" pitchFamily="34" charset="0"/>
                <a:cs typeface="Arial" panose="020B0604020202020204" pitchFamily="34" charset="0"/>
              </a:rPr>
              <a:t>dge</a:t>
            </a: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 comput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A0654A6-487D-5722-8D30-3C69231F03B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87406" y="4376520"/>
            <a:ext cx="978102" cy="1236859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B4C8B63-4A66-5ACE-883D-7D80E609778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59600" y="4376520"/>
            <a:ext cx="1481705" cy="1270033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DA4FE4E8-D28A-1157-E1CD-38F5333723A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012896" y="4376520"/>
            <a:ext cx="1499521" cy="1171113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AFBDCF41-4344-2B8E-78A8-67521A95B12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559805" y="4016328"/>
            <a:ext cx="1499521" cy="1597051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945BDC00-FF84-CE46-2ED2-446E2FBAD9B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697758" y="1667676"/>
            <a:ext cx="1545088" cy="1551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2021433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948F70CF-E031-0143-A9B7-F1246D15B70E}"/>
              </a:ext>
            </a:extLst>
          </p:cNvPr>
          <p:cNvSpPr txBox="1"/>
          <p:nvPr/>
        </p:nvSpPr>
        <p:spPr>
          <a:xfrm>
            <a:off x="1071507" y="5658346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hecklis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F4411AC-E01A-4E41-89CA-FB46CE66D79B}"/>
              </a:ext>
            </a:extLst>
          </p:cNvPr>
          <p:cNvSpPr txBox="1"/>
          <p:nvPr/>
        </p:nvSpPr>
        <p:spPr>
          <a:xfrm>
            <a:off x="952283" y="319684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Busines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E03CF72-DA35-A74A-9603-AEE926A69A1B}"/>
              </a:ext>
            </a:extLst>
          </p:cNvPr>
          <p:cNvSpPr txBox="1"/>
          <p:nvPr/>
        </p:nvSpPr>
        <p:spPr>
          <a:xfrm>
            <a:off x="6499856" y="5619030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ontract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AC408EE-E590-B448-93E8-9DCA90E064EB}"/>
              </a:ext>
            </a:extLst>
          </p:cNvPr>
          <p:cNvSpPr txBox="1"/>
          <p:nvPr/>
        </p:nvSpPr>
        <p:spPr>
          <a:xfrm>
            <a:off x="3816489" y="319684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Big data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9F9F3C8-4DF4-D148-92CD-343774D73B1F}"/>
              </a:ext>
            </a:extLst>
          </p:cNvPr>
          <p:cNvSpPr txBox="1"/>
          <p:nvPr/>
        </p:nvSpPr>
        <p:spPr>
          <a:xfrm>
            <a:off x="3808266" y="5587086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onsulting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8ED2E9D-2BFB-A34C-BF2F-F401FB416FA0}"/>
              </a:ext>
            </a:extLst>
          </p:cNvPr>
          <p:cNvSpPr txBox="1"/>
          <p:nvPr/>
        </p:nvSpPr>
        <p:spPr>
          <a:xfrm>
            <a:off x="6747219" y="3181171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alendar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8866106D-F5A3-0CCB-9295-0CC4D644FA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AR"/>
              <a:t>Negocios/ Ventas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34F41E91-CC07-43F1-F6EF-3691B50C08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16</a:t>
            </a:fld>
            <a:endParaRPr lang="pt-BR"/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DE8C7624-C09F-2351-99A4-16B1F9B498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033695" y="1606117"/>
            <a:ext cx="1297781" cy="13358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5" name="Picture 3">
            <a:extLst>
              <a:ext uri="{FF2B5EF4-FFF2-40B4-BE49-F238E27FC236}">
                <a16:creationId xmlns:a16="http://schemas.microsoft.com/office/drawing/2014/main" id="{1413E809-A91A-25EF-FCDD-47AB1A1ABF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145401" y="1829573"/>
            <a:ext cx="935831" cy="897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6" name="Picture 4">
            <a:extLst>
              <a:ext uri="{FF2B5EF4-FFF2-40B4-BE49-F238E27FC236}">
                <a16:creationId xmlns:a16="http://schemas.microsoft.com/office/drawing/2014/main" id="{11691946-40BF-62A5-B6BC-29006D6201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524458" y="4109698"/>
            <a:ext cx="826294" cy="1223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7" name="Picture 5">
            <a:extLst>
              <a:ext uri="{FF2B5EF4-FFF2-40B4-BE49-F238E27FC236}">
                <a16:creationId xmlns:a16="http://schemas.microsoft.com/office/drawing/2014/main" id="{5CA6DDEE-C806-9950-B068-E21F30B82E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125360" y="4269406"/>
            <a:ext cx="971550" cy="1042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8" name="Picture 6">
            <a:extLst>
              <a:ext uri="{FF2B5EF4-FFF2-40B4-BE49-F238E27FC236}">
                <a16:creationId xmlns:a16="http://schemas.microsoft.com/office/drawing/2014/main" id="{F5005E23-F03E-5A0F-49C5-A64CF87D3D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898038" y="4269406"/>
            <a:ext cx="935831" cy="1195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0" name="TextBox 36">
            <a:extLst>
              <a:ext uri="{FF2B5EF4-FFF2-40B4-BE49-F238E27FC236}">
                <a16:creationId xmlns:a16="http://schemas.microsoft.com/office/drawing/2014/main" id="{0023203D-9388-D739-0701-29297E34E580}"/>
              </a:ext>
            </a:extLst>
          </p:cNvPr>
          <p:cNvSpPr txBox="1"/>
          <p:nvPr/>
        </p:nvSpPr>
        <p:spPr>
          <a:xfrm>
            <a:off x="9611425" y="328187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ost Control (Dollar)</a:t>
            </a:r>
          </a:p>
        </p:txBody>
      </p:sp>
      <p:pic>
        <p:nvPicPr>
          <p:cNvPr id="31" name="Picture 2">
            <a:extLst>
              <a:ext uri="{FF2B5EF4-FFF2-40B4-BE49-F238E27FC236}">
                <a16:creationId xmlns:a16="http://schemas.microsoft.com/office/drawing/2014/main" id="{C6908600-03B8-CA93-7BF8-9E7229518E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9934598" y="1684117"/>
            <a:ext cx="1085850" cy="1176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3" name="TextBox 36">
            <a:extLst>
              <a:ext uri="{FF2B5EF4-FFF2-40B4-BE49-F238E27FC236}">
                <a16:creationId xmlns:a16="http://schemas.microsoft.com/office/drawing/2014/main" id="{B900A2B8-C492-D5D2-991A-E904D273D319}"/>
              </a:ext>
            </a:extLst>
          </p:cNvPr>
          <p:cNvSpPr txBox="1"/>
          <p:nvPr/>
        </p:nvSpPr>
        <p:spPr>
          <a:xfrm>
            <a:off x="9485717" y="5658346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Lower Costs (Dollar)</a:t>
            </a:r>
          </a:p>
        </p:txBody>
      </p:sp>
      <p:pic>
        <p:nvPicPr>
          <p:cNvPr id="34" name="Picture 8">
            <a:extLst>
              <a:ext uri="{FF2B5EF4-FFF2-40B4-BE49-F238E27FC236}">
                <a16:creationId xmlns:a16="http://schemas.microsoft.com/office/drawing/2014/main" id="{93935583-5660-C274-859D-7DBA6D0369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9777933" y="4102837"/>
            <a:ext cx="1147763" cy="1147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0931CF7-BBBD-0B39-C252-290A4C7B097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77389" y="1930480"/>
            <a:ext cx="1403662" cy="1210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6595170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>
            <a:extLst>
              <a:ext uri="{FF2B5EF4-FFF2-40B4-BE49-F238E27FC236}">
                <a16:creationId xmlns:a16="http://schemas.microsoft.com/office/drawing/2014/main" id="{5C942189-1AAC-AB4D-B80F-1884FE7DA907}"/>
              </a:ext>
            </a:extLst>
          </p:cNvPr>
          <p:cNvSpPr txBox="1"/>
          <p:nvPr/>
        </p:nvSpPr>
        <p:spPr>
          <a:xfrm>
            <a:off x="8013820" y="3052910"/>
            <a:ext cx="22443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Financ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F4D7168-CFA7-8F44-BB37-5B42E97B627E}"/>
              </a:ext>
            </a:extLst>
          </p:cNvPr>
          <p:cNvSpPr txBox="1"/>
          <p:nvPr/>
        </p:nvSpPr>
        <p:spPr>
          <a:xfrm>
            <a:off x="5238769" y="5289208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Growth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43FE3DC-34A8-BE4B-A72D-DDF9E2BC3D0F}"/>
              </a:ext>
            </a:extLst>
          </p:cNvPr>
          <p:cNvSpPr txBox="1"/>
          <p:nvPr/>
        </p:nvSpPr>
        <p:spPr>
          <a:xfrm>
            <a:off x="2178822" y="3055951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Deal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843E667-9D4F-CC4F-AC90-2B0D13C11236}"/>
              </a:ext>
            </a:extLst>
          </p:cNvPr>
          <p:cNvSpPr txBox="1"/>
          <p:nvPr/>
        </p:nvSpPr>
        <p:spPr>
          <a:xfrm>
            <a:off x="4850635" y="3055951"/>
            <a:ext cx="23628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Enhanced customer experienc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5EC6B76-A981-42A1-A9DB-9B4C56416B17}"/>
              </a:ext>
            </a:extLst>
          </p:cNvPr>
          <p:cNvSpPr txBox="1"/>
          <p:nvPr/>
        </p:nvSpPr>
        <p:spPr>
          <a:xfrm>
            <a:off x="8013820" y="5154028"/>
            <a:ext cx="22443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Knowledge</a:t>
            </a:r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C3494FEB-158F-AB9B-124E-77BAD9E4A0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AR"/>
              <a:t>Negocios/ Ventas</a:t>
            </a:r>
            <a:endParaRPr lang="pt-BR"/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C546C33A-1960-7278-079D-4AF803A37A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17</a:t>
            </a:fld>
            <a:endParaRPr lang="pt-BR"/>
          </a:p>
        </p:txBody>
      </p:sp>
      <p:pic>
        <p:nvPicPr>
          <p:cNvPr id="21" name="Picture 9">
            <a:extLst>
              <a:ext uri="{FF2B5EF4-FFF2-40B4-BE49-F238E27FC236}">
                <a16:creationId xmlns:a16="http://schemas.microsoft.com/office/drawing/2014/main" id="{2E6A62D3-CD41-8591-366E-D76AE10F92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63847" y="4073382"/>
            <a:ext cx="1078706" cy="10787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BEEDD094-1895-D095-FAFB-F2B68D2728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530985" y="1645470"/>
            <a:ext cx="1023471" cy="1276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4" name="Picture 3">
            <a:extLst>
              <a:ext uri="{FF2B5EF4-FFF2-40B4-BE49-F238E27FC236}">
                <a16:creationId xmlns:a16="http://schemas.microsoft.com/office/drawing/2014/main" id="{CCFE038B-8811-FB64-31B4-A63C991CEE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562102" y="1801094"/>
            <a:ext cx="1147763" cy="1147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5" name="Picture 4">
            <a:extLst>
              <a:ext uri="{FF2B5EF4-FFF2-40B4-BE49-F238E27FC236}">
                <a16:creationId xmlns:a16="http://schemas.microsoft.com/office/drawing/2014/main" id="{1BEB7A3B-5BF4-BCD7-C5F0-60CF2736A4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530985" y="3992630"/>
            <a:ext cx="1147763" cy="1147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6" name="TextBox 9">
            <a:extLst>
              <a:ext uri="{FF2B5EF4-FFF2-40B4-BE49-F238E27FC236}">
                <a16:creationId xmlns:a16="http://schemas.microsoft.com/office/drawing/2014/main" id="{5A6C9581-76C3-FFCA-B5AE-05E2ECA57CCE}"/>
              </a:ext>
            </a:extLst>
          </p:cNvPr>
          <p:cNvSpPr txBox="1"/>
          <p:nvPr/>
        </p:nvSpPr>
        <p:spPr>
          <a:xfrm>
            <a:off x="2337102" y="5288152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Trust / Confidenc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2D8EABF-079D-49CE-6F49-DCFAFDF9CFE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54938" y="1774235"/>
            <a:ext cx="1214607" cy="127652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F937397-EB24-8BEA-2872-D9C56921F2E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67180" y="3992630"/>
            <a:ext cx="1274378" cy="1078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5584344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Box 34">
            <a:extLst>
              <a:ext uri="{FF2B5EF4-FFF2-40B4-BE49-F238E27FC236}">
                <a16:creationId xmlns:a16="http://schemas.microsoft.com/office/drawing/2014/main" id="{12DD5C16-C96B-CF4B-998C-7C58F3C08881}"/>
              </a:ext>
            </a:extLst>
          </p:cNvPr>
          <p:cNvSpPr txBox="1"/>
          <p:nvPr/>
        </p:nvSpPr>
        <p:spPr>
          <a:xfrm>
            <a:off x="2194088" y="3107754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Opportunit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3CCAEB6-73AE-364A-A591-5F04E599A782}"/>
              </a:ext>
            </a:extLst>
          </p:cNvPr>
          <p:cNvSpPr txBox="1"/>
          <p:nvPr/>
        </p:nvSpPr>
        <p:spPr>
          <a:xfrm>
            <a:off x="8697140" y="3107755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Report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F291AB8-11D2-C243-A68F-8FB9A2366AD3}"/>
              </a:ext>
            </a:extLst>
          </p:cNvPr>
          <p:cNvSpPr txBox="1"/>
          <p:nvPr/>
        </p:nvSpPr>
        <p:spPr>
          <a:xfrm>
            <a:off x="5468011" y="3107755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Reliability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E566D01-E67A-C143-ADF2-1D239C43D112}"/>
              </a:ext>
            </a:extLst>
          </p:cNvPr>
          <p:cNvSpPr txBox="1"/>
          <p:nvPr/>
        </p:nvSpPr>
        <p:spPr>
          <a:xfrm>
            <a:off x="5468011" y="5557050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olution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6B087331-88C1-8E4A-9F12-891C20E7DFD7}"/>
              </a:ext>
            </a:extLst>
          </p:cNvPr>
          <p:cNvSpPr txBox="1"/>
          <p:nvPr/>
        </p:nvSpPr>
        <p:spPr>
          <a:xfrm>
            <a:off x="2194088" y="5557050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ingle Provider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2457D8C-FF84-EC46-BA4A-0C718A6CF105}"/>
              </a:ext>
            </a:extLst>
          </p:cNvPr>
          <p:cNvSpPr txBox="1"/>
          <p:nvPr/>
        </p:nvSpPr>
        <p:spPr>
          <a:xfrm>
            <a:off x="8697140" y="5557050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Time</a:t>
            </a:r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3D030E28-634E-F377-4D4C-5F02F198E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AR"/>
              <a:t>Negocios/ Ventas</a:t>
            </a:r>
            <a:endParaRPr lang="pt-BR"/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6FBFCCD2-FACB-24E1-EC19-92F356727F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18</a:t>
            </a:fld>
            <a:endParaRPr lang="pt-BR"/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AFB37E33-63F6-50C9-F3B6-E8B830A710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0119" y="1659989"/>
            <a:ext cx="1147763" cy="1147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5" name="Picture 3">
            <a:extLst>
              <a:ext uri="{FF2B5EF4-FFF2-40B4-BE49-F238E27FC236}">
                <a16:creationId xmlns:a16="http://schemas.microsoft.com/office/drawing/2014/main" id="{00F35412-3A1C-DDE7-8E2B-6AD7E0378A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628063" y="1534565"/>
            <a:ext cx="1318505" cy="1405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7" name="Picture 4">
            <a:extLst>
              <a:ext uri="{FF2B5EF4-FFF2-40B4-BE49-F238E27FC236}">
                <a16:creationId xmlns:a16="http://schemas.microsoft.com/office/drawing/2014/main" id="{49B17439-37BB-A719-0528-54CCD8BE7E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207787" y="1699673"/>
            <a:ext cx="788194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" name="Picture 5">
            <a:extLst>
              <a:ext uri="{FF2B5EF4-FFF2-40B4-BE49-F238E27FC236}">
                <a16:creationId xmlns:a16="http://schemas.microsoft.com/office/drawing/2014/main" id="{1DCD9833-98F0-BED4-71E9-BFF6BC5E34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0120" y="4258638"/>
            <a:ext cx="1147763" cy="1147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1" name="Picture 6">
            <a:extLst>
              <a:ext uri="{FF2B5EF4-FFF2-40B4-BE49-F238E27FC236}">
                <a16:creationId xmlns:a16="http://schemas.microsoft.com/office/drawing/2014/main" id="{9A9B8005-C996-026E-1EC9-921BB09BC1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904807" y="4548835"/>
            <a:ext cx="1295400" cy="7215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3" name="Picture 7">
            <a:extLst>
              <a:ext uri="{FF2B5EF4-FFF2-40B4-BE49-F238E27FC236}">
                <a16:creationId xmlns:a16="http://schemas.microsoft.com/office/drawing/2014/main" id="{2A68BF5F-3754-9B30-B38A-FC63B2A7FF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988676" y="4335712"/>
            <a:ext cx="1147763" cy="1147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501645879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E1E2079E-9BBF-2048-A876-5655B4B660AB}"/>
              </a:ext>
            </a:extLst>
          </p:cNvPr>
          <p:cNvSpPr txBox="1"/>
          <p:nvPr/>
        </p:nvSpPr>
        <p:spPr>
          <a:xfrm>
            <a:off x="5377559" y="5411863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ustom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7A4BC5E-2C8D-2840-9D30-6E9E05A8D930}"/>
              </a:ext>
            </a:extLst>
          </p:cNvPr>
          <p:cNvSpPr txBox="1"/>
          <p:nvPr/>
        </p:nvSpPr>
        <p:spPr>
          <a:xfrm>
            <a:off x="2110565" y="2842022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Admi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805D630-05B3-6743-8A9E-989BDCD7C3BB}"/>
              </a:ext>
            </a:extLst>
          </p:cNvPr>
          <p:cNvSpPr txBox="1"/>
          <p:nvPr/>
        </p:nvSpPr>
        <p:spPr>
          <a:xfrm>
            <a:off x="8484675" y="2816696"/>
            <a:ext cx="17321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hief Financial Officer</a:t>
            </a:r>
            <a:b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(CFO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3FD8DAB-0A9D-B540-B86F-0055CAA88584}"/>
              </a:ext>
            </a:extLst>
          </p:cNvPr>
          <p:cNvSpPr txBox="1"/>
          <p:nvPr/>
        </p:nvSpPr>
        <p:spPr>
          <a:xfrm>
            <a:off x="8534516" y="5411863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Engineer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05485C9-1B6B-4843-B0F8-1761CECA07F6}"/>
              </a:ext>
            </a:extLst>
          </p:cNvPr>
          <p:cNvSpPr txBox="1"/>
          <p:nvPr/>
        </p:nvSpPr>
        <p:spPr>
          <a:xfrm>
            <a:off x="1943994" y="5358975"/>
            <a:ext cx="18524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hief Information Officer</a:t>
            </a:r>
            <a:b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(CIO)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989A63C-3B7D-F541-9A57-5AD101EEE7FB}"/>
              </a:ext>
            </a:extLst>
          </p:cNvPr>
          <p:cNvSpPr txBox="1"/>
          <p:nvPr/>
        </p:nvSpPr>
        <p:spPr>
          <a:xfrm>
            <a:off x="5344018" y="286866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Attacker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ED4BD797-E77A-5192-64B4-E0F2B4F37F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/>
              <a:t>Gente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CA690491-5EAE-D0F1-4625-D1FE9CCF32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19</a:t>
            </a:fld>
            <a:endParaRPr lang="pt-BR"/>
          </a:p>
        </p:txBody>
      </p:sp>
      <p:pic>
        <p:nvPicPr>
          <p:cNvPr id="27" name="Picture 2">
            <a:extLst>
              <a:ext uri="{FF2B5EF4-FFF2-40B4-BE49-F238E27FC236}">
                <a16:creationId xmlns:a16="http://schemas.microsoft.com/office/drawing/2014/main" id="{5F62780E-487E-A3AF-E71A-66D25039C4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07163" y="1368742"/>
            <a:ext cx="1300163" cy="1045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8" name="Picture 3">
            <a:extLst>
              <a:ext uri="{FF2B5EF4-FFF2-40B4-BE49-F238E27FC236}">
                <a16:creationId xmlns:a16="http://schemas.microsoft.com/office/drawing/2014/main" id="{8F6EB0B3-7A42-1496-E5A0-B733413638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591175" y="1343258"/>
            <a:ext cx="1009650" cy="1204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" name="Picture 4">
            <a:extLst>
              <a:ext uri="{FF2B5EF4-FFF2-40B4-BE49-F238E27FC236}">
                <a16:creationId xmlns:a16="http://schemas.microsoft.com/office/drawing/2014/main" id="{8134B5DD-870F-C085-F35A-3A29F3EC0B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700691" y="1368742"/>
            <a:ext cx="1300163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1" name="Picture 6">
            <a:extLst>
              <a:ext uri="{FF2B5EF4-FFF2-40B4-BE49-F238E27FC236}">
                <a16:creationId xmlns:a16="http://schemas.microsoft.com/office/drawing/2014/main" id="{C6B18A7F-8B75-D4E7-AAA4-BFE2931CD4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220130" y="3982583"/>
            <a:ext cx="1300163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3" name="Picture 7">
            <a:extLst>
              <a:ext uri="{FF2B5EF4-FFF2-40B4-BE49-F238E27FC236}">
                <a16:creationId xmlns:a16="http://schemas.microsoft.com/office/drawing/2014/main" id="{F9CABCAF-ECA9-3C33-868C-BD46F1C7C2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809985" y="4076707"/>
            <a:ext cx="867344" cy="1065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C2FB0CC-C4D2-7666-9ACE-2687F63E1C1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813947" y="3984667"/>
            <a:ext cx="1452765" cy="1300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704379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1B4ECCB-BD36-6570-17E0-1FF09B74DD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/>
              <a:t>Network </a:t>
            </a:r>
            <a:r>
              <a:rPr lang="es-AR" err="1"/>
              <a:t>Activation</a:t>
            </a:r>
            <a:r>
              <a:rPr lang="es-AR"/>
              <a:t> – IP/Metro 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8A89A273-FFA9-F41A-D971-DD71967F798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BB219BE7-B8E6-B529-47C3-8E3272F719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28821771"/>
      </p:ext>
    </p:extLst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FCB0935-6365-E64F-A80E-9610D7B2CC8F}"/>
              </a:ext>
            </a:extLst>
          </p:cNvPr>
          <p:cNvSpPr txBox="1"/>
          <p:nvPr/>
        </p:nvSpPr>
        <p:spPr>
          <a:xfrm>
            <a:off x="2151531" y="5409707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uppor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3D0D36E-D84C-7E40-9A75-19F633FBE5D1}"/>
              </a:ext>
            </a:extLst>
          </p:cNvPr>
          <p:cNvSpPr txBox="1"/>
          <p:nvPr/>
        </p:nvSpPr>
        <p:spPr>
          <a:xfrm>
            <a:off x="5304525" y="4276232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LATAM Network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A84A045-DB45-F349-921E-E6574F9DE378}"/>
              </a:ext>
            </a:extLst>
          </p:cNvPr>
          <p:cNvSpPr txBox="1"/>
          <p:nvPr/>
        </p:nvSpPr>
        <p:spPr>
          <a:xfrm>
            <a:off x="8622336" y="5360246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IT Profession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5B66BD6-C05A-E546-8BE0-0AD72DDEF324}"/>
              </a:ext>
            </a:extLst>
          </p:cNvPr>
          <p:cNvSpPr txBox="1"/>
          <p:nvPr/>
        </p:nvSpPr>
        <p:spPr>
          <a:xfrm>
            <a:off x="8697140" y="2984750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oftware Develop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9DD6260-79E1-EE4A-8452-2EE5276FED90}"/>
              </a:ext>
            </a:extLst>
          </p:cNvPr>
          <p:cNvSpPr txBox="1"/>
          <p:nvPr/>
        </p:nvSpPr>
        <p:spPr>
          <a:xfrm>
            <a:off x="2278929" y="3123458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Executive</a:t>
            </a:r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2C2AD0AC-6FC9-D204-386D-0962DD8CD6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/>
              <a:t>Gente</a:t>
            </a:r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87686321-D6AE-B6B9-2049-5790E4FF7F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20</a:t>
            </a:fld>
            <a:endParaRPr lang="pt-BR"/>
          </a:p>
        </p:txBody>
      </p:sp>
      <p:pic>
        <p:nvPicPr>
          <p:cNvPr id="20" name="Picture 3">
            <a:extLst>
              <a:ext uri="{FF2B5EF4-FFF2-40B4-BE49-F238E27FC236}">
                <a16:creationId xmlns:a16="http://schemas.microsoft.com/office/drawing/2014/main" id="{CC5A6222-91CF-25E2-5AA7-CEBD067DE3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913156" y="3890208"/>
            <a:ext cx="1300163" cy="1133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2" name="Picture 4">
            <a:extLst>
              <a:ext uri="{FF2B5EF4-FFF2-40B4-BE49-F238E27FC236}">
                <a16:creationId xmlns:a16="http://schemas.microsoft.com/office/drawing/2014/main" id="{0A95B5EC-80AC-7A28-8F60-D7DA73FA50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913156" y="1618458"/>
            <a:ext cx="1300163" cy="1012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4" name="Picture 5">
            <a:extLst>
              <a:ext uri="{FF2B5EF4-FFF2-40B4-BE49-F238E27FC236}">
                <a16:creationId xmlns:a16="http://schemas.microsoft.com/office/drawing/2014/main" id="{A14AA51B-4975-BFFD-CED9-BC4D1D8EA1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604482" y="4075189"/>
            <a:ext cx="826294" cy="1062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6" name="Picture 6">
            <a:extLst>
              <a:ext uri="{FF2B5EF4-FFF2-40B4-BE49-F238E27FC236}">
                <a16:creationId xmlns:a16="http://schemas.microsoft.com/office/drawing/2014/main" id="{A9EBB41C-1354-7664-D376-C947480FC5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596740" y="2898851"/>
            <a:ext cx="1147763" cy="1147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A138CF4-39F0-7610-6829-42EABFDDFC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69067" y="1618458"/>
            <a:ext cx="1414660" cy="140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922205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Box 29">
            <a:extLst>
              <a:ext uri="{FF2B5EF4-FFF2-40B4-BE49-F238E27FC236}">
                <a16:creationId xmlns:a16="http://schemas.microsoft.com/office/drawing/2014/main" id="{89851B8C-952D-074E-8053-49DFAC60DC95}"/>
              </a:ext>
            </a:extLst>
          </p:cNvPr>
          <p:cNvSpPr txBox="1"/>
          <p:nvPr/>
        </p:nvSpPr>
        <p:spPr>
          <a:xfrm>
            <a:off x="7085207" y="294213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Agility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ACA2CBF-F841-7F4B-83D5-775792F1E29F}"/>
              </a:ext>
            </a:extLst>
          </p:cNvPr>
          <p:cNvSpPr txBox="1"/>
          <p:nvPr/>
        </p:nvSpPr>
        <p:spPr>
          <a:xfrm>
            <a:off x="3333086" y="562261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Analytic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6E806B1-ADB0-FA4E-B2F9-2721A06B4039}"/>
              </a:ext>
            </a:extLst>
          </p:cNvPr>
          <p:cNvSpPr txBox="1"/>
          <p:nvPr/>
        </p:nvSpPr>
        <p:spPr>
          <a:xfrm>
            <a:off x="7085207" y="5622619"/>
            <a:ext cx="17321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Analytics </a:t>
            </a:r>
          </a:p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(data dashboards)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106C42F-A58A-417C-BF27-E5D690E01414}"/>
              </a:ext>
            </a:extLst>
          </p:cNvPr>
          <p:cNvSpPr txBox="1"/>
          <p:nvPr/>
        </p:nvSpPr>
        <p:spPr>
          <a:xfrm>
            <a:off x="3333084" y="294213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Add</a:t>
            </a:r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6E42BADF-5304-CDDE-2F7E-45E4187C69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/>
              <a:t>Productos / Conceptos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1C35DB82-C1AE-9BEF-8EEA-E7C420C676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21</a:t>
            </a:fld>
            <a:endParaRPr lang="pt-BR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50E4D4D-5174-4ADD-952B-71242FA9C4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47311" y="1535177"/>
            <a:ext cx="1319214" cy="12783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EA02585-CC3F-0BD7-FAB4-B16AA0E06F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91698" y="1552239"/>
            <a:ext cx="1525705" cy="131692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2914587-9C62-741A-E37D-3FC8DEBB5C5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14832" y="4316919"/>
            <a:ext cx="1368700" cy="129151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465261F-1718-224A-CA22-C5A1A4CA8A0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44530" y="4225621"/>
            <a:ext cx="1368701" cy="1332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1986237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1CE0D0D-D4ED-C342-B7D0-BB496D7C5C2A}"/>
              </a:ext>
            </a:extLst>
          </p:cNvPr>
          <p:cNvSpPr txBox="1"/>
          <p:nvPr/>
        </p:nvSpPr>
        <p:spPr>
          <a:xfrm>
            <a:off x="5176893" y="5421248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Bug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19EE00A-9C05-EF4E-967B-16B4EC0207AB}"/>
              </a:ext>
            </a:extLst>
          </p:cNvPr>
          <p:cNvSpPr txBox="1"/>
          <p:nvPr/>
        </p:nvSpPr>
        <p:spPr>
          <a:xfrm>
            <a:off x="1483738" y="5339175"/>
            <a:ext cx="17321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Big-data </a:t>
            </a:r>
          </a:p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apps &amp; service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A7B01E3-8B09-4BAE-8462-5AA62F7E96A4}"/>
              </a:ext>
            </a:extLst>
          </p:cNvPr>
          <p:cNvSpPr txBox="1"/>
          <p:nvPr/>
        </p:nvSpPr>
        <p:spPr>
          <a:xfrm>
            <a:off x="8836424" y="3153491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Automati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A20D8BF-4E2F-4FC4-A28B-1A160F558EE3}"/>
              </a:ext>
            </a:extLst>
          </p:cNvPr>
          <p:cNvSpPr txBox="1"/>
          <p:nvPr/>
        </p:nvSpPr>
        <p:spPr>
          <a:xfrm>
            <a:off x="5176893" y="3134741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Apps (other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4CF2AB5-F5B6-45BC-B57D-1AA75369C7C0}"/>
              </a:ext>
            </a:extLst>
          </p:cNvPr>
          <p:cNvSpPr txBox="1"/>
          <p:nvPr/>
        </p:nvSpPr>
        <p:spPr>
          <a:xfrm>
            <a:off x="8956709" y="5339175"/>
            <a:ext cx="17321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2 (Command and Control Server)</a:t>
            </a:r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BCCE7CD6-1F62-5EBE-3566-F1C2638522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/>
              <a:t>Productos / Conceptos</a:t>
            </a:r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DB4035A5-A52A-3F49-8ACA-677CCD6D0F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22</a:t>
            </a:fld>
            <a:endParaRPr lang="pt-BR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C45B659-B4C5-0641-F151-A200848317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85581" y="1790860"/>
            <a:ext cx="1372567" cy="133658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18EAC57-5CF6-9B0A-A2D3-A7C0D89403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66055" y="1816909"/>
            <a:ext cx="1284776" cy="133658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230B9DB-D5D9-C093-C72B-520ABD012A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33371" y="3821332"/>
            <a:ext cx="1467843" cy="145255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B16EC6E-9825-EB5E-779E-22C8CDC473F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26161" y="4139469"/>
            <a:ext cx="1233659" cy="125747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8DBA56B-6C1C-478C-78FC-C2A8D34047D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16046" y="3890581"/>
            <a:ext cx="1476752" cy="1318327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4D803CA4-6B19-FFE9-F658-5210B214548E}"/>
              </a:ext>
            </a:extLst>
          </p:cNvPr>
          <p:cNvSpPr txBox="1"/>
          <p:nvPr/>
        </p:nvSpPr>
        <p:spPr>
          <a:xfrm>
            <a:off x="1517362" y="3157711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Apps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07F48F9F-D31D-79F8-64C2-FF71B22B4F1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48834" y="1745149"/>
            <a:ext cx="1383406" cy="1291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288975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Box 28">
            <a:extLst>
              <a:ext uri="{FF2B5EF4-FFF2-40B4-BE49-F238E27FC236}">
                <a16:creationId xmlns:a16="http://schemas.microsoft.com/office/drawing/2014/main" id="{3458871C-381B-402A-87DB-5082550679BE}"/>
              </a:ext>
            </a:extLst>
          </p:cNvPr>
          <p:cNvSpPr txBox="1"/>
          <p:nvPr/>
        </p:nvSpPr>
        <p:spPr>
          <a:xfrm>
            <a:off x="5229902" y="2923631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hat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46D4EF6-1F95-43A5-8464-EEFAD9043CD3}"/>
              </a:ext>
            </a:extLst>
          </p:cNvPr>
          <p:cNvSpPr txBox="1"/>
          <p:nvPr/>
        </p:nvSpPr>
        <p:spPr>
          <a:xfrm>
            <a:off x="8889043" y="2923631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hat bot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3FA70FC-9BE5-4DFB-9D7F-68DD13FAB6E0}"/>
              </a:ext>
            </a:extLst>
          </p:cNvPr>
          <p:cNvSpPr txBox="1"/>
          <p:nvPr/>
        </p:nvSpPr>
        <p:spPr>
          <a:xfrm>
            <a:off x="5192689" y="5624523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 err="1">
                <a:latin typeface="Arial" panose="020B0604020202020204" pitchFamily="34" charset="0"/>
                <a:cs typeface="Arial" panose="020B0604020202020204" pitchFamily="34" charset="0"/>
              </a:rPr>
              <a:t>CDN</a:t>
            </a: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 (service)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CAF9149-7C3E-455F-AB35-A15B70B9A406}"/>
              </a:ext>
            </a:extLst>
          </p:cNvPr>
          <p:cNvSpPr txBox="1"/>
          <p:nvPr/>
        </p:nvSpPr>
        <p:spPr>
          <a:xfrm>
            <a:off x="9070035" y="553711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loud Storag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0F4D07F1-8726-2AD4-A383-39E393E1F5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/>
              <a:t>Productos / Conceptos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98F67979-2B0F-73C7-CF37-A26EF6A1AA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23</a:t>
            </a:fld>
            <a:endParaRPr lang="pt-BR"/>
          </a:p>
        </p:txBody>
      </p:sp>
      <p:sp>
        <p:nvSpPr>
          <p:cNvPr id="27" name="TextBox 31">
            <a:extLst>
              <a:ext uri="{FF2B5EF4-FFF2-40B4-BE49-F238E27FC236}">
                <a16:creationId xmlns:a16="http://schemas.microsoft.com/office/drawing/2014/main" id="{6477EEAE-71CD-160D-57EB-9A1876163716}"/>
              </a:ext>
            </a:extLst>
          </p:cNvPr>
          <p:cNvSpPr txBox="1"/>
          <p:nvPr/>
        </p:nvSpPr>
        <p:spPr>
          <a:xfrm>
            <a:off x="1652914" y="5508109"/>
            <a:ext cx="17321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isco Unified Comm Manager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A68C2BC-AD31-67D3-FE44-73F33581C9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63074" y="4001898"/>
            <a:ext cx="1183228" cy="151247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41E0038-5122-3EAB-93DB-EEDABAE1A8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80310" y="1540549"/>
            <a:ext cx="1616250" cy="132866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4755AF2-8582-364F-8357-E5C968A51D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53838" y="1239480"/>
            <a:ext cx="1732196" cy="159462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EBC9F74-240A-8A59-A044-53A4BA010F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05657" y="4044050"/>
            <a:ext cx="1426710" cy="138105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DD02559B-3FF1-A605-25AA-9D0FB37776D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70035" y="3902631"/>
            <a:ext cx="1616251" cy="1522475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A4566991-9973-4BC0-805B-D8DD2CA6F16E}"/>
              </a:ext>
            </a:extLst>
          </p:cNvPr>
          <p:cNvSpPr txBox="1"/>
          <p:nvPr/>
        </p:nvSpPr>
        <p:spPr>
          <a:xfrm>
            <a:off x="1618544" y="2818776"/>
            <a:ext cx="17321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CE / Dynamic Connections</a:t>
            </a: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91BD5F40-A48E-D8C8-B4FE-7D042C38E9F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96764" y="1432894"/>
            <a:ext cx="1653976" cy="1257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149553"/>
      </p:ext>
    </p:ext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extBox 44">
            <a:extLst>
              <a:ext uri="{FF2B5EF4-FFF2-40B4-BE49-F238E27FC236}">
                <a16:creationId xmlns:a16="http://schemas.microsoft.com/office/drawing/2014/main" id="{758EE26C-FC8A-4F05-8775-6A361BB42B2E}"/>
              </a:ext>
            </a:extLst>
          </p:cNvPr>
          <p:cNvSpPr txBox="1"/>
          <p:nvPr/>
        </p:nvSpPr>
        <p:spPr>
          <a:xfrm>
            <a:off x="770133" y="2724226"/>
            <a:ext cx="26561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loud / SaaS Applications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1F98BDDC-8572-468B-BE92-FB4CD24E4C96}"/>
              </a:ext>
            </a:extLst>
          </p:cNvPr>
          <p:cNvSpPr txBox="1"/>
          <p:nvPr/>
        </p:nvSpPr>
        <p:spPr>
          <a:xfrm>
            <a:off x="5278637" y="271932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ollaboration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B536FBE-F887-4CC2-BA14-E6715713A330}"/>
              </a:ext>
            </a:extLst>
          </p:cNvPr>
          <p:cNvSpPr txBox="1"/>
          <p:nvPr/>
        </p:nvSpPr>
        <p:spPr>
          <a:xfrm>
            <a:off x="9087257" y="2717623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onferencing 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C377AC86-EC5B-4174-9507-6C6610701990}"/>
              </a:ext>
            </a:extLst>
          </p:cNvPr>
          <p:cNvSpPr txBox="1"/>
          <p:nvPr/>
        </p:nvSpPr>
        <p:spPr>
          <a:xfrm>
            <a:off x="1495174" y="5561765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ustom Background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F32533D-83F1-4EEF-9557-B5D8F0DBC289}"/>
              </a:ext>
            </a:extLst>
          </p:cNvPr>
          <p:cNvSpPr txBox="1"/>
          <p:nvPr/>
        </p:nvSpPr>
        <p:spPr>
          <a:xfrm>
            <a:off x="9175097" y="5561766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E0D0E2C-48E4-46DC-AC82-E944E5FF09FB}"/>
              </a:ext>
            </a:extLst>
          </p:cNvPr>
          <p:cNvSpPr txBox="1"/>
          <p:nvPr/>
        </p:nvSpPr>
        <p:spPr>
          <a:xfrm>
            <a:off x="5278637" y="5561766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Dark fiber</a:t>
            </a:r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E5B04653-2953-D0A1-F256-93B07554F9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/>
              <a:t>Productos / Conceptos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E064DBD0-7FB1-CD97-6849-04E22BA0B4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24</a:t>
            </a:fld>
            <a:endParaRPr lang="pt-BR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C0E66A2-E519-1ED3-E955-73A2F346A6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84072" y="4220855"/>
            <a:ext cx="1285671" cy="125145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468F635-0A92-3F61-6961-29048DD11B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3738" y="1460556"/>
            <a:ext cx="1356543" cy="114260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81F5EBB-8B36-7654-71B5-CC0B7ECD51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05551" y="1241146"/>
            <a:ext cx="1780897" cy="145709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D835DC8-A9B9-3C3B-8525-81B2BFC15D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41503" y="1341777"/>
            <a:ext cx="1623703" cy="129063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F011306-E7B6-0E0B-4B81-DEDB3C86891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74418" y="4134671"/>
            <a:ext cx="1653407" cy="130968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1CC532FC-9E19-D1EB-B3E9-DD184AADC35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88447" y="4312130"/>
            <a:ext cx="1858961" cy="1068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4114287"/>
      </p:ext>
    </p:extLst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1E481B-EBA2-45A4-ADC8-16B480ABB4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Productos / </a:t>
            </a:r>
            <a:r>
              <a:rPr lang="en-US" err="1"/>
              <a:t>Conceptos</a:t>
            </a:r>
            <a:endParaRPr lang="en-US"/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5526AC54-757E-C242-4FA8-62D1F6DC4C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25</a:t>
            </a:fld>
            <a:endParaRPr lang="pt-BR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2525CC8-34F8-4DFA-92FF-6A1672F2DDB7}"/>
              </a:ext>
            </a:extLst>
          </p:cNvPr>
          <p:cNvSpPr txBox="1"/>
          <p:nvPr/>
        </p:nvSpPr>
        <p:spPr>
          <a:xfrm>
            <a:off x="1144949" y="3150179"/>
            <a:ext cx="22443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Databas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01B59E7-0353-4534-A553-CC13373A46B8}"/>
              </a:ext>
            </a:extLst>
          </p:cNvPr>
          <p:cNvSpPr txBox="1"/>
          <p:nvPr/>
        </p:nvSpPr>
        <p:spPr>
          <a:xfrm>
            <a:off x="5295396" y="318202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Data packe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1CA36F5-B619-475E-853F-41BB06F935C3}"/>
              </a:ext>
            </a:extLst>
          </p:cNvPr>
          <p:cNvSpPr txBox="1"/>
          <p:nvPr/>
        </p:nvSpPr>
        <p:spPr>
          <a:xfrm>
            <a:off x="9099737" y="318202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Data thef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9162A9B-4E84-4893-83D7-005FDE084DFD}"/>
              </a:ext>
            </a:extLst>
          </p:cNvPr>
          <p:cNvSpPr txBox="1"/>
          <p:nvPr/>
        </p:nvSpPr>
        <p:spPr>
          <a:xfrm>
            <a:off x="1355537" y="5435268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DDo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A623EB4-1432-4966-B31A-3C982807638F}"/>
              </a:ext>
            </a:extLst>
          </p:cNvPr>
          <p:cNvSpPr txBox="1"/>
          <p:nvPr/>
        </p:nvSpPr>
        <p:spPr>
          <a:xfrm>
            <a:off x="5295398" y="553274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Desig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C8E5AE4-A07A-4B01-A740-C8C130236B0F}"/>
              </a:ext>
            </a:extLst>
          </p:cNvPr>
          <p:cNvSpPr txBox="1"/>
          <p:nvPr/>
        </p:nvSpPr>
        <p:spPr>
          <a:xfrm>
            <a:off x="9099737" y="5435268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DWDM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5E1A23A-F2AE-02D7-D5E5-00E20B1AF4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3377" y="1690248"/>
            <a:ext cx="1107472" cy="144138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33AF88C-CB9C-1511-AC42-A615733B99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55314" y="1570783"/>
            <a:ext cx="1212359" cy="1622997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9ADD558C-6166-E2C4-71EE-71BCA1E0112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99737" y="1809064"/>
            <a:ext cx="1683862" cy="1311704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D05F0CF5-A213-AC1A-3409-82723F5AE52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59925" y="4122645"/>
            <a:ext cx="1427808" cy="126774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30CECC10-0648-EEF8-2A82-4F458F6E908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61302" y="4045252"/>
            <a:ext cx="1400385" cy="1422526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BE125B7A-598D-10F4-84DB-2D6A0ECF468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99738" y="3914906"/>
            <a:ext cx="1683862" cy="1442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6640051"/>
      </p:ext>
    </p:extLst>
  </p:cSld>
  <p:clrMapOvr>
    <a:masterClrMapping/>
  </p:clrMapOvr>
  <p:transition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5F33EC9-BDAF-4B7E-8968-4A4DBA69D2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>
                <a:ea typeface="+mn-ea"/>
              </a:rPr>
              <a:t>Productos / </a:t>
            </a:r>
            <a:r>
              <a:rPr lang="en-US" err="1">
                <a:ea typeface="+mn-ea"/>
              </a:rPr>
              <a:t>Conceptos</a:t>
            </a:r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6490396-4C69-4616-8D10-F47AC26444B1}"/>
              </a:ext>
            </a:extLst>
          </p:cNvPr>
          <p:cNvSpPr txBox="1"/>
          <p:nvPr/>
        </p:nvSpPr>
        <p:spPr>
          <a:xfrm>
            <a:off x="1336631" y="2853763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Edge Securit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2C5BF13-30D9-422E-9B72-8AE193A2B444}"/>
              </a:ext>
            </a:extLst>
          </p:cNvPr>
          <p:cNvSpPr txBox="1"/>
          <p:nvPr/>
        </p:nvSpPr>
        <p:spPr>
          <a:xfrm>
            <a:off x="8788101" y="2853763"/>
            <a:ext cx="22443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Email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68DF94B2-7531-478F-8758-690272CAC242}"/>
              </a:ext>
            </a:extLst>
          </p:cNvPr>
          <p:cNvSpPr txBox="1"/>
          <p:nvPr/>
        </p:nvSpPr>
        <p:spPr>
          <a:xfrm>
            <a:off x="1336631" y="5288595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Email Securit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D79B221-59C4-45A0-B8AA-B2436C1E7AD3}"/>
              </a:ext>
            </a:extLst>
          </p:cNvPr>
          <p:cNvSpPr txBox="1"/>
          <p:nvPr/>
        </p:nvSpPr>
        <p:spPr>
          <a:xfrm>
            <a:off x="5229902" y="5309273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Energy &amp; Utilitie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C74A2F6-7FFC-4753-85E2-4FEE09F91631}"/>
              </a:ext>
            </a:extLst>
          </p:cNvPr>
          <p:cNvSpPr txBox="1"/>
          <p:nvPr/>
        </p:nvSpPr>
        <p:spPr>
          <a:xfrm>
            <a:off x="5226480" y="2911338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End User, remote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42285B19-513D-FF7E-812A-C7BC5983F8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26</a:t>
            </a:fld>
            <a:endParaRPr lang="pt-BR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6CB8671-71E7-2863-5AD6-287A35624E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4409" y="1568484"/>
            <a:ext cx="1732196" cy="123458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A950501-5B3B-7820-16D4-21807E97ED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75654" y="1581486"/>
            <a:ext cx="1263705" cy="122158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39A6681-5A4C-B294-74E4-177CC9C030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00165" y="3850746"/>
            <a:ext cx="1200684" cy="1380274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49E4158-E713-992F-14B9-6BEA63229B4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68580" y="1473489"/>
            <a:ext cx="1359596" cy="1380274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2C6D0CE6-DC60-E759-BD03-129436F8630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16202" y="3871424"/>
            <a:ext cx="1359596" cy="1359596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0B0DD9AF-87A8-9DBD-6F8F-4E617DCF925A}"/>
              </a:ext>
            </a:extLst>
          </p:cNvPr>
          <p:cNvSpPr txBox="1"/>
          <p:nvPr/>
        </p:nvSpPr>
        <p:spPr>
          <a:xfrm>
            <a:off x="9032957" y="5124607"/>
            <a:ext cx="17321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Financial services company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82C6AECD-033D-036E-1AEB-1BCD5960F32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58750" y="3766829"/>
            <a:ext cx="1280609" cy="1290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0755651"/>
      </p:ext>
    </p:extLst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>
            <a:extLst>
              <a:ext uri="{FF2B5EF4-FFF2-40B4-BE49-F238E27FC236}">
                <a16:creationId xmlns:a16="http://schemas.microsoft.com/office/drawing/2014/main" id="{14763B41-8074-FA44-9442-3855E1D329E9}"/>
              </a:ext>
            </a:extLst>
          </p:cNvPr>
          <p:cNvSpPr txBox="1"/>
          <p:nvPr/>
        </p:nvSpPr>
        <p:spPr>
          <a:xfrm>
            <a:off x="7012043" y="282874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File Sharing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04D2A8C-8D7F-446E-B5EB-C18B8E4F022C}"/>
              </a:ext>
            </a:extLst>
          </p:cNvPr>
          <p:cNvSpPr txBox="1"/>
          <p:nvPr/>
        </p:nvSpPr>
        <p:spPr>
          <a:xfrm>
            <a:off x="3438452" y="2846963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Etherne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FD280D8-BA27-4F46-975C-BDEC2C23BB56}"/>
              </a:ext>
            </a:extLst>
          </p:cNvPr>
          <p:cNvSpPr txBox="1"/>
          <p:nvPr/>
        </p:nvSpPr>
        <p:spPr>
          <a:xfrm>
            <a:off x="7012045" y="5452633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Firewall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82F6381-0D66-4AB4-B794-DAF905424A07}"/>
              </a:ext>
            </a:extLst>
          </p:cNvPr>
          <p:cNvSpPr txBox="1"/>
          <p:nvPr/>
        </p:nvSpPr>
        <p:spPr>
          <a:xfrm>
            <a:off x="3439954" y="5466487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Financial Services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A1B834F7-5664-7F50-30E4-624278AC42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/>
              <a:t>Productos / Conceptos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5EAC0681-BBA4-D39F-5EAA-1E9D9FB510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27</a:t>
            </a:fld>
            <a:endParaRPr lang="pt-BR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EFA1378-1B37-BE94-3D67-3B395898F6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20531" y="1491113"/>
            <a:ext cx="1368037" cy="133763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1B28D36-BF28-F24F-0208-97BA6308A3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3227" y="1476528"/>
            <a:ext cx="1191075" cy="120034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BBDB720-8F2D-16DB-7FBE-2A1D4B1CC1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07959" y="4132710"/>
            <a:ext cx="1280609" cy="129538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4038E18-F94D-E679-572C-DBEBC290DA3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03433" y="4159709"/>
            <a:ext cx="1310869" cy="1295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9819940"/>
      </p:ext>
    </p:extLst>
  </p:cSld>
  <p:clrMapOvr>
    <a:masterClrMapping/>
  </p:clrMapOvr>
  <p:transition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>
            <a:extLst>
              <a:ext uri="{FF2B5EF4-FFF2-40B4-BE49-F238E27FC236}">
                <a16:creationId xmlns:a16="http://schemas.microsoft.com/office/drawing/2014/main" id="{1A6B5A38-5F6E-0644-9A92-4347F31880B0}"/>
              </a:ext>
            </a:extLst>
          </p:cNvPr>
          <p:cNvSpPr txBox="1"/>
          <p:nvPr/>
        </p:nvSpPr>
        <p:spPr>
          <a:xfrm>
            <a:off x="1316465" y="2726870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Flexibility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59DDC67-7AAB-BF4A-A272-A465D056A9E4}"/>
              </a:ext>
            </a:extLst>
          </p:cNvPr>
          <p:cNvSpPr txBox="1"/>
          <p:nvPr/>
        </p:nvSpPr>
        <p:spPr>
          <a:xfrm>
            <a:off x="5229902" y="2744051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Healthcar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D40BB6C-671F-2C4F-A665-938A723255B3}"/>
              </a:ext>
            </a:extLst>
          </p:cNvPr>
          <p:cNvSpPr txBox="1"/>
          <p:nvPr/>
        </p:nvSpPr>
        <p:spPr>
          <a:xfrm>
            <a:off x="9174521" y="2717717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 err="1">
                <a:latin typeface="Arial" panose="020B0604020202020204" pitchFamily="34" charset="0"/>
                <a:cs typeface="Arial" panose="020B0604020202020204" pitchFamily="34" charset="0"/>
              </a:rPr>
              <a:t>Hyperscalers</a:t>
            </a:r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EC7086C-5C90-48B3-8DBA-D1FC99DE8A51}"/>
              </a:ext>
            </a:extLst>
          </p:cNvPr>
          <p:cNvSpPr txBox="1"/>
          <p:nvPr/>
        </p:nvSpPr>
        <p:spPr>
          <a:xfrm>
            <a:off x="9195409" y="5462933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Interne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5AE6658-BDD8-42BB-AB06-7C0B43B0CC7B}"/>
              </a:ext>
            </a:extLst>
          </p:cNvPr>
          <p:cNvSpPr txBox="1"/>
          <p:nvPr/>
        </p:nvSpPr>
        <p:spPr>
          <a:xfrm>
            <a:off x="1316465" y="5462933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Infected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13D23C4-6876-4BCB-9F04-9873DC229FB5}"/>
              </a:ext>
            </a:extLst>
          </p:cNvPr>
          <p:cNvSpPr txBox="1"/>
          <p:nvPr/>
        </p:nvSpPr>
        <p:spPr>
          <a:xfrm>
            <a:off x="5229901" y="5462933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Infected Server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CC41807D-9E19-1E77-C606-68FFB5FC0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/>
              <a:t>Productos / Conceptos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8BD6FAC3-83C9-41FA-784E-E3C991F73F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28</a:t>
            </a:fld>
            <a:endParaRPr lang="pt-BR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60342FE-352C-DA39-4283-6AC713DBEE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16140" y="1397458"/>
            <a:ext cx="1342781" cy="133763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4B5D6F4-52F2-7DFF-0C1B-E73CDEA4BE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15712" y="1409579"/>
            <a:ext cx="1560575" cy="131729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58F7322-DD25-3C36-925C-AC77367DB2F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05372" y="1438159"/>
            <a:ext cx="1594375" cy="129289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0F71BB8-3A8D-FEC8-BE8C-782B6D6C91A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73070" y="4290031"/>
            <a:ext cx="1454539" cy="116468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EC50B1F-524C-539D-7EA9-58ABFA93D74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57385" y="4072719"/>
            <a:ext cx="1732196" cy="137024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9652469E-FE06-5FA1-F44F-8999F186D57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94402" y="3985531"/>
            <a:ext cx="1732196" cy="1457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395047"/>
      </p:ext>
    </p:extLst>
  </p:cSld>
  <p:clrMapOvr>
    <a:masterClrMapping/>
  </p:clrMapOvr>
  <p:transition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Box 23">
            <a:extLst>
              <a:ext uri="{FF2B5EF4-FFF2-40B4-BE49-F238E27FC236}">
                <a16:creationId xmlns:a16="http://schemas.microsoft.com/office/drawing/2014/main" id="{95F93897-0A24-DD4A-9D44-9D7F5D1D4A91}"/>
              </a:ext>
            </a:extLst>
          </p:cNvPr>
          <p:cNvSpPr txBox="1"/>
          <p:nvPr/>
        </p:nvSpPr>
        <p:spPr>
          <a:xfrm>
            <a:off x="1483738" y="2784791"/>
            <a:ext cx="22443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Internet Cloud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BDEBE91-6756-4648-B029-10B7E9C07CB9}"/>
              </a:ext>
            </a:extLst>
          </p:cNvPr>
          <p:cNvSpPr txBox="1"/>
          <p:nvPr/>
        </p:nvSpPr>
        <p:spPr>
          <a:xfrm>
            <a:off x="5229904" y="2738364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Io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99C55B6-845D-4DDB-9B4E-7AE9AF7A3672}"/>
              </a:ext>
            </a:extLst>
          </p:cNvPr>
          <p:cNvSpPr txBox="1"/>
          <p:nvPr/>
        </p:nvSpPr>
        <p:spPr>
          <a:xfrm>
            <a:off x="8841851" y="2741875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Jitter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DFBE8A2-9A25-404C-9A5D-FF8D7CA6828C}"/>
              </a:ext>
            </a:extLst>
          </p:cNvPr>
          <p:cNvSpPr txBox="1"/>
          <p:nvPr/>
        </p:nvSpPr>
        <p:spPr>
          <a:xfrm>
            <a:off x="1683449" y="5107635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Load Balancer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3DD66B8-C313-4D36-A330-F6376428CF26}"/>
              </a:ext>
            </a:extLst>
          </p:cNvPr>
          <p:cNvSpPr txBox="1"/>
          <p:nvPr/>
        </p:nvSpPr>
        <p:spPr>
          <a:xfrm>
            <a:off x="4860985" y="5169191"/>
            <a:ext cx="24700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 err="1">
                <a:latin typeface="Arial" panose="020B0604020202020204" pitchFamily="34" charset="0"/>
                <a:cs typeface="Arial" panose="020B0604020202020204" pitchFamily="34" charset="0"/>
              </a:rPr>
              <a:t>Cirion</a:t>
            </a: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 Adaptive Virtual Services (AVS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E558E09-6073-4E27-9444-1CB2F6479118}"/>
              </a:ext>
            </a:extLst>
          </p:cNvPr>
          <p:cNvSpPr txBox="1"/>
          <p:nvPr/>
        </p:nvSpPr>
        <p:spPr>
          <a:xfrm>
            <a:off x="8612911" y="5180236"/>
            <a:ext cx="21900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 err="1">
                <a:latin typeface="Arial" panose="020B0604020202020204" pitchFamily="34" charset="0"/>
                <a:cs typeface="Arial" panose="020B0604020202020204" pitchFamily="34" charset="0"/>
              </a:rPr>
              <a:t>Cirion</a:t>
            </a: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 Edge Orchestrator</a:t>
            </a:r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90724813-B3A6-54F0-640A-0A56DF9ABC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/>
              <a:t>Productos / Conceptos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0845F8DC-27F9-B21E-A9E6-A2868758F8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29</a:t>
            </a:fld>
            <a:endParaRPr lang="pt-BR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8977DE7-A0DA-F1FE-DC88-C06E342A47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73943" y="1331638"/>
            <a:ext cx="1596728" cy="133763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9C098B8-2AA4-8E69-4B42-46D499FFAA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44350" y="1380785"/>
            <a:ext cx="1303299" cy="128848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15EC3A7-9EE2-1F4D-0E01-56D744A31D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54187" y="1501087"/>
            <a:ext cx="1554364" cy="116818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2FB6F9F-2D52-32B3-1F65-65971FFFDDB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45703" y="3643027"/>
            <a:ext cx="1304544" cy="138676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B78D8F7-2A57-02D7-EC91-6D7C839E055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45555" y="3611566"/>
            <a:ext cx="1562996" cy="150001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F1467FEE-F319-E13A-36FC-43524D60343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29903" y="3782354"/>
            <a:ext cx="1562997" cy="1256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054294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8650A18-5966-2314-D3F2-E2F30C2C1E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/>
              <a:t>RAS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08839931-3FBB-B7EB-BC19-4FCDB722E12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8CB2435-DEE5-C96E-DC0B-5F2A20884F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30294542"/>
      </p:ext>
    </p:extLst>
  </p:cSld>
  <p:clrMapOvr>
    <a:masterClrMapping/>
  </p:clrMapOvr>
  <p:transition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>
            <a:extLst>
              <a:ext uri="{FF2B5EF4-FFF2-40B4-BE49-F238E27FC236}">
                <a16:creationId xmlns:a16="http://schemas.microsoft.com/office/drawing/2014/main" id="{AB6CE8D3-97FC-8C47-955F-012377A31791}"/>
              </a:ext>
            </a:extLst>
          </p:cNvPr>
          <p:cNvSpPr txBox="1"/>
          <p:nvPr/>
        </p:nvSpPr>
        <p:spPr>
          <a:xfrm>
            <a:off x="1394003" y="272521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Malwar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CEA09D5-377A-4FD5-A215-C8794A8A186A}"/>
              </a:ext>
            </a:extLst>
          </p:cNvPr>
          <p:cNvSpPr txBox="1"/>
          <p:nvPr/>
        </p:nvSpPr>
        <p:spPr>
          <a:xfrm>
            <a:off x="9157123" y="272521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Manufacturing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2248FB5-A440-4829-9DC2-193D948C7080}"/>
              </a:ext>
            </a:extLst>
          </p:cNvPr>
          <p:cNvSpPr txBox="1"/>
          <p:nvPr/>
        </p:nvSpPr>
        <p:spPr>
          <a:xfrm>
            <a:off x="1208800" y="5363880"/>
            <a:ext cx="21026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Media and Entertainmen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74AC5B7-2FBC-4074-8743-3CF010258073}"/>
              </a:ext>
            </a:extLst>
          </p:cNvPr>
          <p:cNvSpPr txBox="1"/>
          <p:nvPr/>
        </p:nvSpPr>
        <p:spPr>
          <a:xfrm>
            <a:off x="5229901" y="5363881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Migratio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4FAD0F1-E6DF-4326-9F2F-AED352309C0B}"/>
              </a:ext>
            </a:extLst>
          </p:cNvPr>
          <p:cNvSpPr txBox="1"/>
          <p:nvPr/>
        </p:nvSpPr>
        <p:spPr>
          <a:xfrm>
            <a:off x="9220209" y="5363881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Monitor </a:t>
            </a:r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FA1963D7-0C34-5476-B0AA-D5585DBD47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/>
              <a:t>Productos / Conceptos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25C1FB24-01E4-D46E-3A43-B7BB1644D1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30</a:t>
            </a:fld>
            <a:endParaRPr lang="pt-BR"/>
          </a:p>
        </p:txBody>
      </p:sp>
      <p:sp>
        <p:nvSpPr>
          <p:cNvPr id="33" name="TextBox 25">
            <a:extLst>
              <a:ext uri="{FF2B5EF4-FFF2-40B4-BE49-F238E27FC236}">
                <a16:creationId xmlns:a16="http://schemas.microsoft.com/office/drawing/2014/main" id="{608472C6-8E83-CCCB-868B-2BD7466B9D17}"/>
              </a:ext>
            </a:extLst>
          </p:cNvPr>
          <p:cNvSpPr txBox="1"/>
          <p:nvPr/>
        </p:nvSpPr>
        <p:spPr>
          <a:xfrm>
            <a:off x="4736782" y="2836821"/>
            <a:ext cx="24153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Edge Compute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D2E0413A-7F1F-BD1F-3DA5-17F1248373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9901" y="1256609"/>
            <a:ext cx="1407603" cy="149005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0A39222-5395-9B7A-0F56-54F228FD8D5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52452" y="1362830"/>
            <a:ext cx="1297802" cy="125389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64C1E13-CD0A-7DDB-BFF6-DA5C72C6D78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19420" y="1318513"/>
            <a:ext cx="1407602" cy="140229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39F7056-76F6-76DC-C745-1452D758AC7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94002" y="4032277"/>
            <a:ext cx="1732196" cy="135210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9AE461C1-3D7A-098A-6E16-0BE962CEDAF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01438" y="3733303"/>
            <a:ext cx="1589122" cy="163057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C763F426-94E4-BDD5-A9EC-EB8D1300595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30395" y="4032277"/>
            <a:ext cx="1658924" cy="1331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1879033"/>
      </p:ext>
    </p:extLst>
  </p:cSld>
  <p:clrMapOvr>
    <a:masterClrMapping/>
  </p:clrMapOvr>
  <p:transition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extBox 43">
            <a:extLst>
              <a:ext uri="{FF2B5EF4-FFF2-40B4-BE49-F238E27FC236}">
                <a16:creationId xmlns:a16="http://schemas.microsoft.com/office/drawing/2014/main" id="{F6734A01-F631-5346-B26C-E2E2FEFCDDC7}"/>
              </a:ext>
            </a:extLst>
          </p:cNvPr>
          <p:cNvSpPr txBox="1"/>
          <p:nvPr/>
        </p:nvSpPr>
        <p:spPr>
          <a:xfrm>
            <a:off x="5110633" y="3642913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Network Solution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516421C-75A0-A147-8AD4-EBA4327556E2}"/>
              </a:ext>
            </a:extLst>
          </p:cNvPr>
          <p:cNvSpPr txBox="1"/>
          <p:nvPr/>
        </p:nvSpPr>
        <p:spPr>
          <a:xfrm>
            <a:off x="1901215" y="2820703"/>
            <a:ext cx="17321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MPLS / IP-VPN Servic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4D94356-2789-4FD2-8565-31B4E87E1C60}"/>
              </a:ext>
            </a:extLst>
          </p:cNvPr>
          <p:cNvSpPr txBox="1"/>
          <p:nvPr/>
        </p:nvSpPr>
        <p:spPr>
          <a:xfrm>
            <a:off x="1862147" y="5354138"/>
            <a:ext cx="22443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Online Shopping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9ABC7E1-A158-4269-A8C2-4B64B38B70F5}"/>
              </a:ext>
            </a:extLst>
          </p:cNvPr>
          <p:cNvSpPr txBox="1"/>
          <p:nvPr/>
        </p:nvSpPr>
        <p:spPr>
          <a:xfrm>
            <a:off x="8441711" y="5335765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Pharma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28C4B44-C408-43C3-B891-7F33C851D18A}"/>
              </a:ext>
            </a:extLst>
          </p:cNvPr>
          <p:cNvSpPr txBox="1"/>
          <p:nvPr/>
        </p:nvSpPr>
        <p:spPr>
          <a:xfrm>
            <a:off x="8353457" y="2840114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Portal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C23DBC78-A259-CAB2-6872-C4A97C9C33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/>
              <a:t>Productos / Conceptos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A958EAAE-F1D8-32D0-7072-B45DF308A9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31</a:t>
            </a:fld>
            <a:endParaRPr lang="pt-BR"/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380601F2-EFDF-C685-AF37-FCF5AABA3B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5535" y="2434957"/>
            <a:ext cx="1560575" cy="104414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33E47DF-1D70-58B4-2B75-85EC6C845A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93071" y="1269036"/>
            <a:ext cx="1440339" cy="146973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D953819-C7C9-4749-076A-B9F093216D6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18093" y="4008980"/>
            <a:ext cx="1581713" cy="13267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34BE9D6-FB6E-DA14-86F8-47E419ED946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58591" y="3893135"/>
            <a:ext cx="1498597" cy="133763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C4E5366-B0CD-80F7-9B59-5A0ED3C3BF5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41711" y="1345048"/>
            <a:ext cx="1732196" cy="1393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206008"/>
      </p:ext>
    </p:extLst>
  </p:cSld>
  <p:clrMapOvr>
    <a:masterClrMapping/>
  </p:clrMapOvr>
  <p:transition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extBox 38">
            <a:extLst>
              <a:ext uri="{FF2B5EF4-FFF2-40B4-BE49-F238E27FC236}">
                <a16:creationId xmlns:a16="http://schemas.microsoft.com/office/drawing/2014/main" id="{27D39CC7-3E00-48B0-8AD7-7F449CC4F2AC}"/>
              </a:ext>
            </a:extLst>
          </p:cNvPr>
          <p:cNvSpPr txBox="1"/>
          <p:nvPr/>
        </p:nvSpPr>
        <p:spPr>
          <a:xfrm>
            <a:off x="1543142" y="2912978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Packet deliver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FB7FE33-1DAD-47C5-B1C6-A41D385F0DC2}"/>
              </a:ext>
            </a:extLst>
          </p:cNvPr>
          <p:cNvSpPr txBox="1"/>
          <p:nvPr/>
        </p:nvSpPr>
        <p:spPr>
          <a:xfrm>
            <a:off x="5229902" y="2813589"/>
            <a:ext cx="17321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Private Branch Exchange (PBX)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59C1A04-73E3-40EF-8C4A-0E200A94A9D3}"/>
              </a:ext>
            </a:extLst>
          </p:cNvPr>
          <p:cNvSpPr txBox="1"/>
          <p:nvPr/>
        </p:nvSpPr>
        <p:spPr>
          <a:xfrm>
            <a:off x="8997151" y="2913253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Private Fiber Network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C5EC247-0DDF-40E7-B026-F7FADB6F6D12}"/>
              </a:ext>
            </a:extLst>
          </p:cNvPr>
          <p:cNvSpPr txBox="1"/>
          <p:nvPr/>
        </p:nvSpPr>
        <p:spPr>
          <a:xfrm>
            <a:off x="1543142" y="5513650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Retail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6ACB8F0-5A78-4E9C-8266-4E446B82FAF1}"/>
              </a:ext>
            </a:extLst>
          </p:cNvPr>
          <p:cNvSpPr txBox="1"/>
          <p:nvPr/>
        </p:nvSpPr>
        <p:spPr>
          <a:xfrm>
            <a:off x="5246751" y="5513650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Risk category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D60D055-0509-4954-8427-FE65AD845156}"/>
              </a:ext>
            </a:extLst>
          </p:cNvPr>
          <p:cNvSpPr txBox="1"/>
          <p:nvPr/>
        </p:nvSpPr>
        <p:spPr>
          <a:xfrm>
            <a:off x="9234737" y="5513650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Risk rating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5FAFA63F-722C-EECD-E93A-07403BABB9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32</a:t>
            </a:fld>
            <a:endParaRPr lang="pt-BR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B166E78-D8AF-1DDE-0C4F-E081BF86A0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0984" y="1283289"/>
            <a:ext cx="1466758" cy="15303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133FDF2-AE78-9CDB-89E0-8379A305FD9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23140" y="1283289"/>
            <a:ext cx="1466758" cy="143718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C062909-CB7D-3D8D-4B16-679B3DC4019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34737" y="1341914"/>
            <a:ext cx="1471675" cy="14716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F1F1F7F-4569-A84A-D1CB-DBA00BA262D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93689" y="4063071"/>
            <a:ext cx="1404053" cy="139312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B0FC219-B043-C3B9-416F-493088D5B7D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83652" y="3967973"/>
            <a:ext cx="1458393" cy="145839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813B87A-EE68-C89C-8E75-EE48433DD0E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331155" y="3944572"/>
            <a:ext cx="1500471" cy="1494587"/>
          </a:xfrm>
          <a:prstGeom prst="rect">
            <a:avLst/>
          </a:prstGeom>
        </p:spPr>
      </p:pic>
      <p:sp>
        <p:nvSpPr>
          <p:cNvPr id="18" name="Título 2">
            <a:extLst>
              <a:ext uri="{FF2B5EF4-FFF2-40B4-BE49-F238E27FC236}">
                <a16:creationId xmlns:a16="http://schemas.microsoft.com/office/drawing/2014/main" id="{FDEF262C-B414-B7BB-3515-319814C440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344" y="227105"/>
            <a:ext cx="9859992" cy="792000"/>
          </a:xfrm>
        </p:spPr>
        <p:txBody>
          <a:bodyPr>
            <a:normAutofit/>
          </a:bodyPr>
          <a:lstStyle/>
          <a:p>
            <a:r>
              <a:rPr lang="pt-BR"/>
              <a:t>Productos / Conceptos</a:t>
            </a:r>
          </a:p>
        </p:txBody>
      </p:sp>
    </p:spTree>
    <p:extLst>
      <p:ext uri="{BB962C8B-B14F-4D97-AF65-F5344CB8AC3E}">
        <p14:creationId xmlns:p14="http://schemas.microsoft.com/office/powerpoint/2010/main" val="1926976762"/>
      </p:ext>
    </p:extLst>
  </p:cSld>
  <p:clrMapOvr>
    <a:masterClrMapping/>
  </p:clrMapOvr>
  <p:transition/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>
            <a:extLst>
              <a:ext uri="{FF2B5EF4-FFF2-40B4-BE49-F238E27FC236}">
                <a16:creationId xmlns:a16="http://schemas.microsoft.com/office/drawing/2014/main" id="{5E856F91-B338-444F-A83A-A88F5BB8812F}"/>
              </a:ext>
            </a:extLst>
          </p:cNvPr>
          <p:cNvSpPr txBox="1"/>
          <p:nvPr/>
        </p:nvSpPr>
        <p:spPr>
          <a:xfrm>
            <a:off x="7128979" y="5279412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AP Application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A273222-EA4E-4FFF-980C-A6F14E1295AC}"/>
              </a:ext>
            </a:extLst>
          </p:cNvPr>
          <p:cNvSpPr txBox="1"/>
          <p:nvPr/>
        </p:nvSpPr>
        <p:spPr>
          <a:xfrm>
            <a:off x="7111926" y="2997776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Route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C48C492-A9CA-4F06-B956-C75489F21E0D}"/>
              </a:ext>
            </a:extLst>
          </p:cNvPr>
          <p:cNvSpPr txBox="1"/>
          <p:nvPr/>
        </p:nvSpPr>
        <p:spPr>
          <a:xfrm>
            <a:off x="3238639" y="2997776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Route Mile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4FCFFDD-5420-4892-BBA2-601FB501CF95}"/>
              </a:ext>
            </a:extLst>
          </p:cNvPr>
          <p:cNvSpPr txBox="1"/>
          <p:nvPr/>
        </p:nvSpPr>
        <p:spPr>
          <a:xfrm>
            <a:off x="3257615" y="5358544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atellite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B0B8D01D-823D-0CCD-5EDD-1434096BAA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33</a:t>
            </a:fld>
            <a:endParaRPr lang="pt-BR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854284E-D7D1-DFAB-3C4D-B61E321241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67171" y="1650019"/>
            <a:ext cx="1275954" cy="129528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6436FEA-E84D-3D43-F90C-61E6F1F25B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71467" y="1583526"/>
            <a:ext cx="1280344" cy="132718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B1593E0-6FFF-B313-87A4-7A7458BD1C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11926" y="3931655"/>
            <a:ext cx="1766299" cy="129528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BF44EA-50C1-3C64-E46C-A1F4A1F3F9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65547" y="3723667"/>
            <a:ext cx="1548384" cy="1537324"/>
          </a:xfrm>
          <a:prstGeom prst="rect">
            <a:avLst/>
          </a:prstGeom>
        </p:spPr>
      </p:pic>
      <p:sp>
        <p:nvSpPr>
          <p:cNvPr id="14" name="Título 2">
            <a:extLst>
              <a:ext uri="{FF2B5EF4-FFF2-40B4-BE49-F238E27FC236}">
                <a16:creationId xmlns:a16="http://schemas.microsoft.com/office/drawing/2014/main" id="{4C5A5C5D-56A8-B73E-30E5-6312A28FE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913" y="227013"/>
            <a:ext cx="9859962" cy="792162"/>
          </a:xfrm>
        </p:spPr>
        <p:txBody>
          <a:bodyPr>
            <a:normAutofit/>
          </a:bodyPr>
          <a:lstStyle/>
          <a:p>
            <a:r>
              <a:rPr lang="pt-BR"/>
              <a:t>Productos / Conceptos</a:t>
            </a:r>
          </a:p>
        </p:txBody>
      </p:sp>
    </p:spTree>
    <p:extLst>
      <p:ext uri="{BB962C8B-B14F-4D97-AF65-F5344CB8AC3E}">
        <p14:creationId xmlns:p14="http://schemas.microsoft.com/office/powerpoint/2010/main" val="2511367697"/>
      </p:ext>
    </p:extLst>
  </p:cSld>
  <p:clrMapOvr>
    <a:masterClrMapping/>
  </p:clrMapOvr>
  <p:transition/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>
            <a:extLst>
              <a:ext uri="{FF2B5EF4-FFF2-40B4-BE49-F238E27FC236}">
                <a16:creationId xmlns:a16="http://schemas.microsoft.com/office/drawing/2014/main" id="{644222D8-D03E-45FB-A14A-C1F908E3FD52}"/>
              </a:ext>
            </a:extLst>
          </p:cNvPr>
          <p:cNvSpPr txBox="1"/>
          <p:nvPr/>
        </p:nvSpPr>
        <p:spPr>
          <a:xfrm>
            <a:off x="8334617" y="2728080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D-WA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0F5B1F4-23B7-4498-A855-96B34469AB78}"/>
              </a:ext>
            </a:extLst>
          </p:cNvPr>
          <p:cNvSpPr txBox="1"/>
          <p:nvPr/>
        </p:nvSpPr>
        <p:spPr>
          <a:xfrm>
            <a:off x="2207614" y="2987522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creen Sharing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3824509-61C5-47BF-B0E7-6F730A88D20A}"/>
              </a:ext>
            </a:extLst>
          </p:cNvPr>
          <p:cNvSpPr txBox="1"/>
          <p:nvPr/>
        </p:nvSpPr>
        <p:spPr>
          <a:xfrm>
            <a:off x="5368961" y="4210014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ecurity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F91FB8C0-292A-41FC-9810-88FCFDBFE604}"/>
              </a:ext>
            </a:extLst>
          </p:cNvPr>
          <p:cNvSpPr txBox="1"/>
          <p:nvPr/>
        </p:nvSpPr>
        <p:spPr>
          <a:xfrm>
            <a:off x="2073793" y="5221581"/>
            <a:ext cx="17321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D-WAN Router / Intelligent Routing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7DA4E58-D1BB-4D12-BC2A-5351BD28387C}"/>
              </a:ext>
            </a:extLst>
          </p:cNvPr>
          <p:cNvSpPr txBox="1"/>
          <p:nvPr/>
        </p:nvSpPr>
        <p:spPr>
          <a:xfrm>
            <a:off x="8460123" y="5322534"/>
            <a:ext cx="17321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ecurity </a:t>
            </a:r>
          </a:p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(Endpoint application)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7F25A04E-4B4F-DFDA-1D9E-1551DE48EE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34</a:t>
            </a:fld>
            <a:endParaRPr lang="pt-BR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051917A-D503-C454-7125-6D96DBB4BA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68574" y="1644045"/>
            <a:ext cx="1548384" cy="136103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E50D3BD-E0D8-736B-E1EA-F396AC35C2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85249" y="1452827"/>
            <a:ext cx="1365726" cy="113644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D28AC15-6567-ED39-18DB-1742DDF5B8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99776" y="4190720"/>
            <a:ext cx="1359493" cy="94781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21E9F87-633A-46F8-DDBE-A76DEBCA13B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51444" y="2884248"/>
            <a:ext cx="936779" cy="116599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0BF1CA8-6A82-E5E0-7B12-7D0EFCD0644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37308" y="4050239"/>
            <a:ext cx="1594662" cy="1252949"/>
          </a:xfrm>
          <a:prstGeom prst="rect">
            <a:avLst/>
          </a:prstGeom>
        </p:spPr>
      </p:pic>
      <p:sp>
        <p:nvSpPr>
          <p:cNvPr id="16" name="Título 2">
            <a:extLst>
              <a:ext uri="{FF2B5EF4-FFF2-40B4-BE49-F238E27FC236}">
                <a16:creationId xmlns:a16="http://schemas.microsoft.com/office/drawing/2014/main" id="{62EE3347-B496-C5A3-11FF-E2596D5A7E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344" y="227105"/>
            <a:ext cx="9859992" cy="792000"/>
          </a:xfrm>
        </p:spPr>
        <p:txBody>
          <a:bodyPr>
            <a:normAutofit/>
          </a:bodyPr>
          <a:lstStyle/>
          <a:p>
            <a:r>
              <a:rPr lang="pt-BR"/>
              <a:t>Productos / Conceptos</a:t>
            </a:r>
          </a:p>
        </p:txBody>
      </p:sp>
    </p:spTree>
    <p:extLst>
      <p:ext uri="{BB962C8B-B14F-4D97-AF65-F5344CB8AC3E}">
        <p14:creationId xmlns:p14="http://schemas.microsoft.com/office/powerpoint/2010/main" val="3072704634"/>
      </p:ext>
    </p:extLst>
  </p:cSld>
  <p:clrMapOvr>
    <a:masterClrMapping/>
  </p:clrMapOvr>
  <p:transition/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>
            <a:extLst>
              <a:ext uri="{FF2B5EF4-FFF2-40B4-BE49-F238E27FC236}">
                <a16:creationId xmlns:a16="http://schemas.microsoft.com/office/drawing/2014/main" id="{19D54E9F-B8C7-40BE-B782-69299FC40F85}"/>
              </a:ext>
            </a:extLst>
          </p:cNvPr>
          <p:cNvSpPr txBox="1"/>
          <p:nvPr/>
        </p:nvSpPr>
        <p:spPr>
          <a:xfrm>
            <a:off x="8781743" y="3270556"/>
            <a:ext cx="22443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IP / Voice calling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D23F706-081B-48A7-A74B-BBD5E3116A5F}"/>
              </a:ext>
            </a:extLst>
          </p:cNvPr>
          <p:cNvSpPr txBox="1"/>
          <p:nvPr/>
        </p:nvSpPr>
        <p:spPr>
          <a:xfrm>
            <a:off x="1149155" y="2970967"/>
            <a:ext cx="22443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ervice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07FC94F-CC32-4603-8097-A335E0AA9776}"/>
              </a:ext>
            </a:extLst>
          </p:cNvPr>
          <p:cNvSpPr txBox="1"/>
          <p:nvPr/>
        </p:nvSpPr>
        <p:spPr>
          <a:xfrm>
            <a:off x="4990761" y="2843439"/>
            <a:ext cx="22443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ession Border Controller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AFF9B87-A1D8-4FF5-AEAB-DEE72672842D}"/>
              </a:ext>
            </a:extLst>
          </p:cNvPr>
          <p:cNvSpPr txBox="1"/>
          <p:nvPr/>
        </p:nvSpPr>
        <p:spPr>
          <a:xfrm>
            <a:off x="9037808" y="5448995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ystem Integrator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871DAE2-64CC-4B02-929C-2EC9FD002BE7}"/>
              </a:ext>
            </a:extLst>
          </p:cNvPr>
          <p:cNvSpPr txBox="1"/>
          <p:nvPr/>
        </p:nvSpPr>
        <p:spPr>
          <a:xfrm>
            <a:off x="5246826" y="5448996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peed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26020B1-9F32-4A2B-9CF2-B83DA52F932A}"/>
              </a:ext>
            </a:extLst>
          </p:cNvPr>
          <p:cNvSpPr txBox="1"/>
          <p:nvPr/>
        </p:nvSpPr>
        <p:spPr>
          <a:xfrm>
            <a:off x="1464543" y="5375972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pam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4D838DFA-4E61-2252-222F-9ECF39E8F2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35</a:t>
            </a:fld>
            <a:endParaRPr lang="pt-BR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563BC1B-F344-29FA-9F55-5CFD65F538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10662" y="1624087"/>
            <a:ext cx="1321313" cy="132131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05C4321-54D2-E7A0-6B9B-AFD7022EF2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96579" y="1624087"/>
            <a:ext cx="1632691" cy="121935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1BAB8F-7C1E-D0D0-251D-A953CF84D38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08179" y="1481518"/>
            <a:ext cx="1632692" cy="165353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3D348CC-1599-BA19-C96B-6566BB36C90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75531" y="4023193"/>
            <a:ext cx="1462760" cy="135277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C458B58-F67C-E053-7AF0-CA1BF1245EE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87560" y="3936537"/>
            <a:ext cx="1632691" cy="149568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774CE339-A5BA-71B9-BE06-BC15CED7151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16265" y="4085989"/>
            <a:ext cx="1324981" cy="1289982"/>
          </a:xfrm>
          <a:prstGeom prst="rect">
            <a:avLst/>
          </a:prstGeom>
        </p:spPr>
      </p:pic>
      <p:sp>
        <p:nvSpPr>
          <p:cNvPr id="18" name="Título 2">
            <a:extLst>
              <a:ext uri="{FF2B5EF4-FFF2-40B4-BE49-F238E27FC236}">
                <a16:creationId xmlns:a16="http://schemas.microsoft.com/office/drawing/2014/main" id="{8D71CA56-11E2-7E72-D77F-DC6DA7B28C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344" y="227105"/>
            <a:ext cx="9859992" cy="792000"/>
          </a:xfrm>
        </p:spPr>
        <p:txBody>
          <a:bodyPr>
            <a:normAutofit/>
          </a:bodyPr>
          <a:lstStyle/>
          <a:p>
            <a:r>
              <a:rPr lang="pt-BR"/>
              <a:t>Productos / Conceptos</a:t>
            </a:r>
          </a:p>
        </p:txBody>
      </p:sp>
    </p:spTree>
    <p:extLst>
      <p:ext uri="{BB962C8B-B14F-4D97-AF65-F5344CB8AC3E}">
        <p14:creationId xmlns:p14="http://schemas.microsoft.com/office/powerpoint/2010/main" val="3075186758"/>
      </p:ext>
    </p:extLst>
  </p:cSld>
  <p:clrMapOvr>
    <a:masterClrMapping/>
  </p:clrMapOvr>
  <p:transition/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>
            <a:extLst>
              <a:ext uri="{FF2B5EF4-FFF2-40B4-BE49-F238E27FC236}">
                <a16:creationId xmlns:a16="http://schemas.microsoft.com/office/drawing/2014/main" id="{CBD9B8CD-5183-404B-AA70-B1760BFC7E53}"/>
              </a:ext>
            </a:extLst>
          </p:cNvPr>
          <p:cNvSpPr txBox="1"/>
          <p:nvPr/>
        </p:nvSpPr>
        <p:spPr>
          <a:xfrm>
            <a:off x="1731285" y="3179557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Tech Suppor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A991862-A9C8-46B9-8D47-9C92A50C93B4}"/>
              </a:ext>
            </a:extLst>
          </p:cNvPr>
          <p:cNvSpPr txBox="1"/>
          <p:nvPr/>
        </p:nvSpPr>
        <p:spPr>
          <a:xfrm>
            <a:off x="5136958" y="4076576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Teleport (hub, master)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B7854DB-95CF-4FBD-A0F1-B48CFF7D3897}"/>
              </a:ext>
            </a:extLst>
          </p:cNvPr>
          <p:cNvSpPr txBox="1"/>
          <p:nvPr/>
        </p:nvSpPr>
        <p:spPr>
          <a:xfrm>
            <a:off x="8451125" y="3213305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Threat Detec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80DE5A7-7EC2-4A58-87F8-CBE4E9E1BCD1}"/>
              </a:ext>
            </a:extLst>
          </p:cNvPr>
          <p:cNvSpPr txBox="1"/>
          <p:nvPr/>
        </p:nvSpPr>
        <p:spPr>
          <a:xfrm>
            <a:off x="8241812" y="5661445"/>
            <a:ext cx="22443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Total Solutio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65656FA-8518-46FC-B6CC-F83BA78D4DA0}"/>
              </a:ext>
            </a:extLst>
          </p:cNvPr>
          <p:cNvSpPr txBox="1"/>
          <p:nvPr/>
        </p:nvSpPr>
        <p:spPr>
          <a:xfrm>
            <a:off x="1859626" y="5627696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Threat Intelligence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FEE35C89-597E-BCC7-16CA-968EE46A3C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36</a:t>
            </a:fld>
            <a:endParaRPr lang="pt-BR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A679C68-1EB0-3E5C-58C2-3AAEA28A05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8679" y="1766948"/>
            <a:ext cx="1361855" cy="136185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6A99D4E-E3B0-03B6-EBC1-C4E6B5E57F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06396" y="2803686"/>
            <a:ext cx="1255572" cy="125062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6DA051B-4AD7-C0F5-ECF2-B1FAB7BFC7D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36296" y="1766948"/>
            <a:ext cx="1361855" cy="136185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2139183-DDD8-3A06-A3BC-676B3575BF8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70393" y="4301911"/>
            <a:ext cx="1310661" cy="132578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3BAD237-5560-C5D2-5E53-F945F9E8CF7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687490" y="4353575"/>
            <a:ext cx="1310661" cy="1310661"/>
          </a:xfrm>
          <a:prstGeom prst="rect">
            <a:avLst/>
          </a:prstGeom>
        </p:spPr>
      </p:pic>
      <p:sp>
        <p:nvSpPr>
          <p:cNvPr id="16" name="Título 2">
            <a:extLst>
              <a:ext uri="{FF2B5EF4-FFF2-40B4-BE49-F238E27FC236}">
                <a16:creationId xmlns:a16="http://schemas.microsoft.com/office/drawing/2014/main" id="{9EC652E3-B101-2677-DE8B-6AC07F8138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344" y="227105"/>
            <a:ext cx="9859992" cy="792000"/>
          </a:xfrm>
        </p:spPr>
        <p:txBody>
          <a:bodyPr>
            <a:normAutofit/>
          </a:bodyPr>
          <a:lstStyle/>
          <a:p>
            <a:r>
              <a:rPr lang="pt-BR"/>
              <a:t>Productos / Conceptos</a:t>
            </a:r>
          </a:p>
        </p:txBody>
      </p:sp>
    </p:spTree>
    <p:extLst>
      <p:ext uri="{BB962C8B-B14F-4D97-AF65-F5344CB8AC3E}">
        <p14:creationId xmlns:p14="http://schemas.microsoft.com/office/powerpoint/2010/main" val="2087855868"/>
      </p:ext>
    </p:extLst>
  </p:cSld>
  <p:clrMapOvr>
    <a:masterClrMapping/>
  </p:clrMapOvr>
  <p:transition/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Box 27">
            <a:extLst>
              <a:ext uri="{FF2B5EF4-FFF2-40B4-BE49-F238E27FC236}">
                <a16:creationId xmlns:a16="http://schemas.microsoft.com/office/drawing/2014/main" id="{A3EF4DF6-53C2-4A89-9430-E6CD501871DB}"/>
              </a:ext>
            </a:extLst>
          </p:cNvPr>
          <p:cNvSpPr txBox="1"/>
          <p:nvPr/>
        </p:nvSpPr>
        <p:spPr>
          <a:xfrm>
            <a:off x="8810240" y="3038132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Upload / Download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1232B59-D96F-4182-8B5C-DA5BE1B20660}"/>
              </a:ext>
            </a:extLst>
          </p:cNvPr>
          <p:cNvSpPr txBox="1"/>
          <p:nvPr/>
        </p:nvSpPr>
        <p:spPr>
          <a:xfrm>
            <a:off x="1832748" y="3107469"/>
            <a:ext cx="22443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err="1">
                <a:latin typeface="Arial" panose="020B0604020202020204" pitchFamily="34" charset="0"/>
                <a:cs typeface="Arial" panose="020B0604020202020204" pitchFamily="34" charset="0"/>
              </a:rPr>
              <a:t>UC&amp;C</a:t>
            </a:r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A9E82A1-7DC2-4B58-ADE8-13D6E7A0636F}"/>
              </a:ext>
            </a:extLst>
          </p:cNvPr>
          <p:cNvSpPr txBox="1"/>
          <p:nvPr/>
        </p:nvSpPr>
        <p:spPr>
          <a:xfrm>
            <a:off x="8914992" y="5488676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Voice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612367B-3661-41D3-A28B-A35D7EB61229}"/>
              </a:ext>
            </a:extLst>
          </p:cNvPr>
          <p:cNvSpPr txBox="1"/>
          <p:nvPr/>
        </p:nvSpPr>
        <p:spPr>
          <a:xfrm>
            <a:off x="5174346" y="4412812"/>
            <a:ext cx="22443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Virtual Desktop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B4907AD-12F5-4A31-AA9A-2B35BA143C58}"/>
              </a:ext>
            </a:extLst>
          </p:cNvPr>
          <p:cNvSpPr txBox="1"/>
          <p:nvPr/>
        </p:nvSpPr>
        <p:spPr>
          <a:xfrm>
            <a:off x="2069749" y="555341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Video chat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A076C789-2645-958E-65A0-FC2EC98AF1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37</a:t>
            </a:fld>
            <a:endParaRPr lang="pt-BR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B9B3B14-4430-00B4-6B59-7BC2216177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2471" y="1631093"/>
            <a:ext cx="1732196" cy="151385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478BC99-991E-6201-009B-D5964D4535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59047" y="1631093"/>
            <a:ext cx="1304545" cy="134049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EDDBC29-1647-1C96-EE48-3E22473B22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21185" y="4146358"/>
            <a:ext cx="1383234" cy="140467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034BA69-5DC1-AAEA-7FE5-ADBF714728D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49178" y="2681094"/>
            <a:ext cx="1865110" cy="172933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69EC259-63AA-69D0-2E15-C7B639E334D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57468" y="4010200"/>
            <a:ext cx="1306124" cy="1361004"/>
          </a:xfrm>
          <a:prstGeom prst="rect">
            <a:avLst/>
          </a:prstGeom>
        </p:spPr>
      </p:pic>
      <p:sp>
        <p:nvSpPr>
          <p:cNvPr id="16" name="Título 2">
            <a:extLst>
              <a:ext uri="{FF2B5EF4-FFF2-40B4-BE49-F238E27FC236}">
                <a16:creationId xmlns:a16="http://schemas.microsoft.com/office/drawing/2014/main" id="{DEC6C8E3-388F-D4FE-DFA9-B671B09F7D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344" y="227105"/>
            <a:ext cx="9859992" cy="792000"/>
          </a:xfrm>
        </p:spPr>
        <p:txBody>
          <a:bodyPr>
            <a:normAutofit/>
          </a:bodyPr>
          <a:lstStyle/>
          <a:p>
            <a:r>
              <a:rPr lang="pt-BR"/>
              <a:t>Productos / Conceptos</a:t>
            </a:r>
          </a:p>
        </p:txBody>
      </p:sp>
    </p:spTree>
    <p:extLst>
      <p:ext uri="{BB962C8B-B14F-4D97-AF65-F5344CB8AC3E}">
        <p14:creationId xmlns:p14="http://schemas.microsoft.com/office/powerpoint/2010/main" val="1651329716"/>
      </p:ext>
    </p:extLst>
  </p:cSld>
  <p:clrMapOvr>
    <a:masterClrMapping/>
  </p:clrMapOvr>
  <p:transition/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>
            <a:extLst>
              <a:ext uri="{FF2B5EF4-FFF2-40B4-BE49-F238E27FC236}">
                <a16:creationId xmlns:a16="http://schemas.microsoft.com/office/drawing/2014/main" id="{F6768D17-E209-4A00-A934-E74F00AFAE2F}"/>
              </a:ext>
            </a:extLst>
          </p:cNvPr>
          <p:cNvSpPr txBox="1"/>
          <p:nvPr/>
        </p:nvSpPr>
        <p:spPr>
          <a:xfrm>
            <a:off x="5362424" y="4306850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Vulnerability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903552D-BC4F-48F3-ACFE-9AF5EAB054A9}"/>
              </a:ext>
            </a:extLst>
          </p:cNvPr>
          <p:cNvSpPr txBox="1"/>
          <p:nvPr/>
        </p:nvSpPr>
        <p:spPr>
          <a:xfrm>
            <a:off x="8830763" y="3152001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Warning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1E1EB65-093C-4896-9572-9FF324AD853D}"/>
              </a:ext>
            </a:extLst>
          </p:cNvPr>
          <p:cNvSpPr txBox="1"/>
          <p:nvPr/>
        </p:nvSpPr>
        <p:spPr>
          <a:xfrm>
            <a:off x="1700775" y="2964325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VPN Gateway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9252E1E-C595-4EDE-BF78-28F3CC5664BD}"/>
              </a:ext>
            </a:extLst>
          </p:cNvPr>
          <p:cNvSpPr txBox="1"/>
          <p:nvPr/>
        </p:nvSpPr>
        <p:spPr>
          <a:xfrm>
            <a:off x="8813487" y="550194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Wi-Fi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6338A98-A632-4D80-B03E-5F2F776ED95E}"/>
              </a:ext>
            </a:extLst>
          </p:cNvPr>
          <p:cNvSpPr txBox="1"/>
          <p:nvPr/>
        </p:nvSpPr>
        <p:spPr>
          <a:xfrm>
            <a:off x="1760674" y="5408366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Wavelength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D2B816C7-5BF4-64B4-0AFA-DFA144C74C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38</a:t>
            </a:fld>
            <a:endParaRPr lang="pt-BR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5507646-8D58-223A-DF64-5BAA61591A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16393" y="1485665"/>
            <a:ext cx="1616578" cy="142062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F2B376D-5A74-AB1E-C510-9C701B00EA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02573" y="2656562"/>
            <a:ext cx="1817500" cy="154487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455B9C9-A355-8CF9-8FBA-EDFE2267D7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66555" y="1601742"/>
            <a:ext cx="1461657" cy="145028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441A045-C765-DB6F-9D93-B1663523942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11362" y="4011637"/>
            <a:ext cx="1430819" cy="137265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600F88F-8761-3605-D62E-2646134B0A1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64174" y="4011637"/>
            <a:ext cx="1430820" cy="1398424"/>
          </a:xfrm>
          <a:prstGeom prst="rect">
            <a:avLst/>
          </a:prstGeom>
        </p:spPr>
      </p:pic>
      <p:sp>
        <p:nvSpPr>
          <p:cNvPr id="16" name="Título 2">
            <a:extLst>
              <a:ext uri="{FF2B5EF4-FFF2-40B4-BE49-F238E27FC236}">
                <a16:creationId xmlns:a16="http://schemas.microsoft.com/office/drawing/2014/main" id="{8DFB9AC0-016E-19FD-5D0E-E0B87838D3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344" y="227105"/>
            <a:ext cx="9859992" cy="792000"/>
          </a:xfrm>
        </p:spPr>
        <p:txBody>
          <a:bodyPr>
            <a:normAutofit/>
          </a:bodyPr>
          <a:lstStyle/>
          <a:p>
            <a:r>
              <a:rPr lang="pt-BR"/>
              <a:t>Productos / Conceptos</a:t>
            </a:r>
          </a:p>
        </p:txBody>
      </p:sp>
    </p:spTree>
    <p:extLst>
      <p:ext uri="{BB962C8B-B14F-4D97-AF65-F5344CB8AC3E}">
        <p14:creationId xmlns:p14="http://schemas.microsoft.com/office/powerpoint/2010/main" val="1054989273"/>
      </p:ext>
    </p:extLst>
  </p:cSld>
  <p:clrMapOvr>
    <a:masterClrMapping/>
  </p:clrMapOvr>
  <p:transition/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>
            <a:extLst>
              <a:ext uri="{FF2B5EF4-FFF2-40B4-BE49-F238E27FC236}">
                <a16:creationId xmlns:a16="http://schemas.microsoft.com/office/drawing/2014/main" id="{5F269F79-69CD-4045-81BC-B53E2EFB9549}"/>
              </a:ext>
            </a:extLst>
          </p:cNvPr>
          <p:cNvSpPr txBox="1"/>
          <p:nvPr/>
        </p:nvSpPr>
        <p:spPr>
          <a:xfrm>
            <a:off x="5409981" y="5368775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Router (device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6E0C609-0A79-3243-8624-ECAA35411DAD}"/>
              </a:ext>
            </a:extLst>
          </p:cNvPr>
          <p:cNvSpPr txBox="1"/>
          <p:nvPr/>
        </p:nvSpPr>
        <p:spPr>
          <a:xfrm>
            <a:off x="5423686" y="3005267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IP Phon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9851B8C-952D-074E-8053-49DFAC60DC95}"/>
              </a:ext>
            </a:extLst>
          </p:cNvPr>
          <p:cNvSpPr txBox="1"/>
          <p:nvPr/>
        </p:nvSpPr>
        <p:spPr>
          <a:xfrm>
            <a:off x="1765412" y="3003257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Desktop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314F179-4D81-D74F-9C21-5C49B5FB6259}"/>
              </a:ext>
            </a:extLst>
          </p:cNvPr>
          <p:cNvSpPr txBox="1"/>
          <p:nvPr/>
        </p:nvSpPr>
        <p:spPr>
          <a:xfrm>
            <a:off x="8882556" y="5366765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erver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3A67814-C342-E844-A1B0-09AD7ADF9E55}"/>
              </a:ext>
            </a:extLst>
          </p:cNvPr>
          <p:cNvSpPr txBox="1"/>
          <p:nvPr/>
        </p:nvSpPr>
        <p:spPr>
          <a:xfrm>
            <a:off x="8833187" y="3003257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Laptop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C8612DD-9A77-154A-BB63-4C4BD542FC32}"/>
              </a:ext>
            </a:extLst>
          </p:cNvPr>
          <p:cNvSpPr txBox="1"/>
          <p:nvPr/>
        </p:nvSpPr>
        <p:spPr>
          <a:xfrm>
            <a:off x="1734840" y="5366765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Mobile Phone</a:t>
            </a:r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BC14D099-08D7-AE07-98BB-366B9AE2CC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/>
              <a:t>Dispositivos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1C5A6F6D-4CBE-8CF4-C76A-01EC661F36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39</a:t>
            </a:fld>
            <a:endParaRPr lang="pt-BR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4BFDE2B-BB29-BC4D-1C8B-6C059D9B17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47679" y="1758977"/>
            <a:ext cx="1533612" cy="119281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10A2B5B-2E57-0EA0-D3F6-C0540B7ED1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83781" y="1853294"/>
            <a:ext cx="1412005" cy="107555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9801920-9461-890A-A356-6F1498C5CA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08159" y="1577767"/>
            <a:ext cx="1732196" cy="146844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7A6BC56-F56A-3904-97AE-59F81D729BE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95135" y="3828867"/>
            <a:ext cx="811606" cy="143755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7A77C61-BABA-6B05-361A-87922C1E9F7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28684" y="3888291"/>
            <a:ext cx="1585805" cy="1380137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D504C4B0-1D5B-4ABE-1E3A-11F2B99CDCA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71061" y="3977235"/>
            <a:ext cx="1348520" cy="1306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8347519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242956A-6670-CA96-7FEF-31A25463E1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/>
              <a:t>PARAGON 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D8E7BC8B-1B61-6C6B-F644-CBA1EC6E925D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DAF8152-1F20-095D-91B2-0A8715616E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66652151"/>
      </p:ext>
    </p:extLst>
  </p:cSld>
  <p:clrMapOvr>
    <a:masterClrMapping/>
  </p:clrMapOvr>
  <p:transition/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Box 23">
            <a:extLst>
              <a:ext uri="{FF2B5EF4-FFF2-40B4-BE49-F238E27FC236}">
                <a16:creationId xmlns:a16="http://schemas.microsoft.com/office/drawing/2014/main" id="{CBAA56EA-5703-9E42-AA01-82ABE9E586B8}"/>
              </a:ext>
            </a:extLst>
          </p:cNvPr>
          <p:cNvSpPr txBox="1"/>
          <p:nvPr/>
        </p:nvSpPr>
        <p:spPr>
          <a:xfrm>
            <a:off x="2252576" y="3518286"/>
            <a:ext cx="22443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witch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5A8FF86-1174-C441-AF3C-7DACA1AC4E04}"/>
              </a:ext>
            </a:extLst>
          </p:cNvPr>
          <p:cNvSpPr txBox="1"/>
          <p:nvPr/>
        </p:nvSpPr>
        <p:spPr>
          <a:xfrm>
            <a:off x="7822951" y="3531698"/>
            <a:ext cx="22443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Video streamin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CCB0AE9-B7A7-4888-82CF-A98737FDEC6A}"/>
              </a:ext>
            </a:extLst>
          </p:cNvPr>
          <p:cNvSpPr txBox="1"/>
          <p:nvPr/>
        </p:nvSpPr>
        <p:spPr>
          <a:xfrm>
            <a:off x="4947332" y="3518286"/>
            <a:ext cx="22443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Thresholds</a:t>
            </a:r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FFE42131-6CB5-6F0F-2E6C-2157B4747A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/>
              <a:t>Dispositivos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9B4CB7F0-2372-02D8-4411-73A93E2907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40</a:t>
            </a:fld>
            <a:endParaRPr lang="pt-BR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3C7885D-874B-B1F7-EBE5-194DCF8FBC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56304" y="2001078"/>
            <a:ext cx="1408883" cy="142792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46013FD-3FA5-0270-8C3F-9420D81177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10939" y="2001078"/>
            <a:ext cx="1464245" cy="143199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4C2C0D9-41CE-D243-F4D8-8DA61CA6D7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22234" y="2138481"/>
            <a:ext cx="2245045" cy="1290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6233640"/>
      </p:ext>
    </p:extLst>
  </p:cSld>
  <p:clrMapOvr>
    <a:masterClrMapping/>
  </p:clrMapOvr>
  <p:transition/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Box 28">
            <a:extLst>
              <a:ext uri="{FF2B5EF4-FFF2-40B4-BE49-F238E27FC236}">
                <a16:creationId xmlns:a16="http://schemas.microsoft.com/office/drawing/2014/main" id="{D6E0C609-0A79-3243-8624-ECAA35411DAD}"/>
              </a:ext>
            </a:extLst>
          </p:cNvPr>
          <p:cNvSpPr txBox="1"/>
          <p:nvPr/>
        </p:nvSpPr>
        <p:spPr>
          <a:xfrm>
            <a:off x="2404045" y="5366479"/>
            <a:ext cx="27224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all Center / Customer Contact Center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9851B8C-952D-074E-8053-49DFAC60DC95}"/>
              </a:ext>
            </a:extLst>
          </p:cNvPr>
          <p:cNvSpPr txBox="1"/>
          <p:nvPr/>
        </p:nvSpPr>
        <p:spPr>
          <a:xfrm>
            <a:off x="6763277" y="2783720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Branch Office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3A67814-C342-E844-A1B0-09AD7ADF9E55}"/>
              </a:ext>
            </a:extLst>
          </p:cNvPr>
          <p:cNvSpPr txBox="1"/>
          <p:nvPr/>
        </p:nvSpPr>
        <p:spPr>
          <a:xfrm>
            <a:off x="6763277" y="536647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Data Cent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BA2596F-0639-1943-A245-C6F1C22D8131}"/>
              </a:ext>
            </a:extLst>
          </p:cNvPr>
          <p:cNvSpPr txBox="1"/>
          <p:nvPr/>
        </p:nvSpPr>
        <p:spPr>
          <a:xfrm>
            <a:off x="2899165" y="2724700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Bank $ (USD)</a:t>
            </a:r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5AA2C471-12B4-2EA3-0113-E6F2BA44B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err="1"/>
              <a:t>Sitios</a:t>
            </a:r>
            <a:endParaRPr lang="pt-BR"/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B38CD356-0FE1-947F-8959-7F50644D17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41</a:t>
            </a:fld>
            <a:endParaRPr lang="pt-BR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C1DADFB-B8BC-4325-9954-BAFA5DC11C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89002" y="1271317"/>
            <a:ext cx="1732195" cy="150868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6A48F95-110D-45EF-F42D-6C7BF02511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93360" y="1115237"/>
            <a:ext cx="1604105" cy="166476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E07AD9F-7DE9-B06E-753C-F0055331CC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99163" y="3738262"/>
            <a:ext cx="1732197" cy="160211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90A155A7-4584-691E-9D27-F6398104108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57167" y="3818868"/>
            <a:ext cx="1467688" cy="1547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09179"/>
      </p:ext>
    </p:extLst>
  </p:cSld>
  <p:clrMapOvr>
    <a:masterClrMapping/>
  </p:clrMapOvr>
  <p:transition/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Box 28">
            <a:extLst>
              <a:ext uri="{FF2B5EF4-FFF2-40B4-BE49-F238E27FC236}">
                <a16:creationId xmlns:a16="http://schemas.microsoft.com/office/drawing/2014/main" id="{D6E0C609-0A79-3243-8624-ECAA35411DAD}"/>
              </a:ext>
            </a:extLst>
          </p:cNvPr>
          <p:cNvSpPr txBox="1"/>
          <p:nvPr/>
        </p:nvSpPr>
        <p:spPr>
          <a:xfrm>
            <a:off x="8529587" y="5546210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Network Glob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73E9F48-DA36-834D-8297-5ECA719DA463}"/>
              </a:ext>
            </a:extLst>
          </p:cNvPr>
          <p:cNvSpPr txBox="1"/>
          <p:nvPr/>
        </p:nvSpPr>
        <p:spPr>
          <a:xfrm>
            <a:off x="4973836" y="5505101"/>
            <a:ext cx="22443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HQ (Headquarters)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0D2E899-1D70-EF46-B832-0F4BFDD233A5}"/>
              </a:ext>
            </a:extLst>
          </p:cNvPr>
          <p:cNvSpPr txBox="1"/>
          <p:nvPr/>
        </p:nvSpPr>
        <p:spPr>
          <a:xfrm>
            <a:off x="1902640" y="2650701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Glob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8992E07-9412-3944-9623-AC94E81ADB6A}"/>
              </a:ext>
            </a:extLst>
          </p:cNvPr>
          <p:cNvSpPr txBox="1"/>
          <p:nvPr/>
        </p:nvSpPr>
        <p:spPr>
          <a:xfrm>
            <a:off x="1702793" y="5422223"/>
            <a:ext cx="22443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Hospital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EF1D76F-600D-CD41-AC14-C02164C7743F}"/>
              </a:ext>
            </a:extLst>
          </p:cNvPr>
          <p:cNvSpPr txBox="1"/>
          <p:nvPr/>
        </p:nvSpPr>
        <p:spPr>
          <a:xfrm>
            <a:off x="5153755" y="273357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Government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5CF1B16-3463-6240-8B35-E20808B7B4AC}"/>
              </a:ext>
            </a:extLst>
          </p:cNvPr>
          <p:cNvSpPr txBox="1"/>
          <p:nvPr/>
        </p:nvSpPr>
        <p:spPr>
          <a:xfrm>
            <a:off x="8462026" y="2774688"/>
            <a:ext cx="17321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Government </a:t>
            </a:r>
            <a:b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(state &amp; local)</a:t>
            </a:r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2CBC4462-E627-3E7D-6DF4-F67286ECF2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err="1"/>
              <a:t>Sitios</a:t>
            </a:r>
            <a:endParaRPr lang="pt-BR"/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FE7F5B18-30AF-07C9-6658-32D2CDA51B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42</a:t>
            </a:fld>
            <a:endParaRPr lang="pt-BR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7749A21-F6C1-4A0C-8051-F34FD591D1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2284" y="1373981"/>
            <a:ext cx="1249384" cy="123301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DB7E816-BEA3-ED7C-8B2E-F356BFAF33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58777" y="1120745"/>
            <a:ext cx="1414069" cy="161283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B14A55F-836D-C3B4-1520-EA1B5E6F08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78462" y="1182491"/>
            <a:ext cx="1850654" cy="155108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EAF251AF-E250-8899-4001-DC70576EDD1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76384" y="3979745"/>
            <a:ext cx="1558452" cy="1398775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AD369BC5-DD3E-5605-FF22-7E7E9A59CB0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58777" y="3886525"/>
            <a:ext cx="1558453" cy="159092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52603D01-00C9-D75E-07B6-3524116175B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786491" y="3973236"/>
            <a:ext cx="1218388" cy="1559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103461"/>
      </p:ext>
    </p:extLst>
  </p:cSld>
  <p:clrMapOvr>
    <a:masterClrMapping/>
  </p:clrMapOvr>
  <p:transition/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extBox 40">
            <a:extLst>
              <a:ext uri="{FF2B5EF4-FFF2-40B4-BE49-F238E27FC236}">
                <a16:creationId xmlns:a16="http://schemas.microsoft.com/office/drawing/2014/main" id="{EE56399B-3362-5A4D-9BFE-B9A718637182}"/>
              </a:ext>
            </a:extLst>
          </p:cNvPr>
          <p:cNvSpPr txBox="1"/>
          <p:nvPr/>
        </p:nvSpPr>
        <p:spPr>
          <a:xfrm>
            <a:off x="5279233" y="4173773"/>
            <a:ext cx="22443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Remote Offic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7876577-2ED8-484B-A1A0-F090980FC2A4}"/>
              </a:ext>
            </a:extLst>
          </p:cNvPr>
          <p:cNvSpPr txBox="1"/>
          <p:nvPr/>
        </p:nvSpPr>
        <p:spPr>
          <a:xfrm>
            <a:off x="8300723" y="5719667"/>
            <a:ext cx="22443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mart Citi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55D1A4B-E95B-AC40-A9CB-4326703E8C29}"/>
              </a:ext>
            </a:extLst>
          </p:cNvPr>
          <p:cNvSpPr txBox="1"/>
          <p:nvPr/>
        </p:nvSpPr>
        <p:spPr>
          <a:xfrm>
            <a:off x="2265870" y="5455921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mart Building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B547AE3-9461-3D44-A152-6760BF431D0D}"/>
              </a:ext>
            </a:extLst>
          </p:cNvPr>
          <p:cNvSpPr txBox="1"/>
          <p:nvPr/>
        </p:nvSpPr>
        <p:spPr>
          <a:xfrm>
            <a:off x="2183665" y="2773681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Retail Loca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D1E15F2-8965-AE4F-B2DF-31D892F869F7}"/>
              </a:ext>
            </a:extLst>
          </p:cNvPr>
          <p:cNvSpPr txBox="1"/>
          <p:nvPr/>
        </p:nvSpPr>
        <p:spPr>
          <a:xfrm>
            <a:off x="8514094" y="2959794"/>
            <a:ext cx="17321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ecurity Operations Center (SOC)</a:t>
            </a:r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02585464-348E-005C-7763-2A5B089F84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err="1"/>
              <a:t>Sitios</a:t>
            </a:r>
            <a:endParaRPr lang="pt-BR"/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A36255B8-2DA6-A066-E06F-912D68BA53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43</a:t>
            </a:fld>
            <a:endParaRPr lang="pt-BR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026DAAE-C896-1533-34AF-79250E8C2D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64874" y="1568616"/>
            <a:ext cx="1441770" cy="118203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97FD068-3D5D-5DB2-1420-3A0B5E6D87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34704" y="2681854"/>
            <a:ext cx="1441770" cy="149191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A78C187-AAF5-4FFE-7747-06ADCEFBC3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95317" y="1514437"/>
            <a:ext cx="1567409" cy="144535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C85099B-EE1E-FA5B-A0FD-C31742FF599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65870" y="3427813"/>
            <a:ext cx="1377012" cy="197146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BB9ECE1-BAE7-984D-88B4-8C21EFFC7CF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43688" y="4060876"/>
            <a:ext cx="1473007" cy="1658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9432202"/>
      </p:ext>
    </p:extLst>
  </p:cSld>
  <p:clrMapOvr>
    <a:masterClrMapping/>
  </p:clrMapOvr>
  <p:transition/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C93272-46F1-4C67-B3F0-71036872AA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RH / </a:t>
            </a:r>
            <a:r>
              <a:rPr lang="en-US" err="1"/>
              <a:t>Experiencia</a:t>
            </a:r>
            <a:r>
              <a:rPr lang="en-US"/>
              <a:t> del </a:t>
            </a:r>
            <a:r>
              <a:rPr lang="en-US" err="1"/>
              <a:t>Cliente</a:t>
            </a:r>
            <a:r>
              <a:rPr lang="en-US"/>
              <a:t> (CX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F07C0B-1A8B-4CCB-8CA1-8EBC886E8F76}"/>
              </a:ext>
            </a:extLst>
          </p:cNvPr>
          <p:cNvSpPr txBox="1"/>
          <p:nvPr/>
        </p:nvSpPr>
        <p:spPr>
          <a:xfrm>
            <a:off x="1519304" y="3061953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Block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9672E98-5CFA-4BAC-890C-656CC3304363}"/>
              </a:ext>
            </a:extLst>
          </p:cNvPr>
          <p:cNvSpPr txBox="1"/>
          <p:nvPr/>
        </p:nvSpPr>
        <p:spPr>
          <a:xfrm>
            <a:off x="5344726" y="3045614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Block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42F4FA2-BB32-491C-814B-DE4B08C63AB6}"/>
              </a:ext>
            </a:extLst>
          </p:cNvPr>
          <p:cNvSpPr txBox="1"/>
          <p:nvPr/>
        </p:nvSpPr>
        <p:spPr>
          <a:xfrm>
            <a:off x="8934644" y="3045614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Education suppor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B235CFC-9E3A-4416-AB56-7C42A3E5FCA3}"/>
              </a:ext>
            </a:extLst>
          </p:cNvPr>
          <p:cNvSpPr txBox="1"/>
          <p:nvPr/>
        </p:nvSpPr>
        <p:spPr>
          <a:xfrm>
            <a:off x="1483738" y="5515034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Family centered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7AACF4E-E801-4142-A06C-C2C04095D7A0}"/>
              </a:ext>
            </a:extLst>
          </p:cNvPr>
          <p:cNvSpPr txBox="1"/>
          <p:nvPr/>
        </p:nvSpPr>
        <p:spPr>
          <a:xfrm>
            <a:off x="5344726" y="5515034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Feedback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33D0C29-95F3-4986-9C9D-9CC6F045E133}"/>
              </a:ext>
            </a:extLst>
          </p:cNvPr>
          <p:cNvSpPr txBox="1"/>
          <p:nvPr/>
        </p:nvSpPr>
        <p:spPr>
          <a:xfrm>
            <a:off x="8934644" y="5517657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Grow </a:t>
            </a:r>
          </a:p>
        </p:txBody>
      </p:sp>
      <p:sp>
        <p:nvSpPr>
          <p:cNvPr id="21" name="Espaço Reservado para Número de Slide 20">
            <a:extLst>
              <a:ext uri="{FF2B5EF4-FFF2-40B4-BE49-F238E27FC236}">
                <a16:creationId xmlns:a16="http://schemas.microsoft.com/office/drawing/2014/main" id="{546E53CA-B4BE-78E6-ED3F-E891C44AD6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44</a:t>
            </a:fld>
            <a:endParaRPr lang="pt-BR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8CDB73D6-0BB5-D5A6-BAD1-FB08938C4B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6939" y="2014062"/>
            <a:ext cx="1456926" cy="1031989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B65E6D42-0360-6B7B-2FA2-E94C7DDE00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37050" y="1561968"/>
            <a:ext cx="1547547" cy="1456925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3F35B0DF-1637-A5E5-BE28-64193A62F0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11965" y="1509074"/>
            <a:ext cx="1732196" cy="1509819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A33F9A81-F2D9-0F4A-02B5-12A2D494143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19303" y="4134402"/>
            <a:ext cx="1732197" cy="1289524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2DD9DB22-420F-2F81-0570-5F6375DA54F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44725" y="3970239"/>
            <a:ext cx="1732197" cy="1453687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D2C3708D-3BC2-2700-C88C-2979F4C6019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89534" y="4076887"/>
            <a:ext cx="1042135" cy="143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993776"/>
      </p:ext>
    </p:extLst>
  </p:cSld>
  <p:clrMapOvr>
    <a:masterClrMapping/>
  </p:clrMapOvr>
  <p:transition/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CAD3A3-22B7-44E7-8710-37111949DE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RH / </a:t>
            </a:r>
            <a:r>
              <a:rPr lang="en-US" err="1"/>
              <a:t>Experiencia</a:t>
            </a:r>
            <a:r>
              <a:rPr lang="en-US"/>
              <a:t> del </a:t>
            </a:r>
            <a:r>
              <a:rPr lang="en-US" err="1"/>
              <a:t>Cliente</a:t>
            </a:r>
            <a:r>
              <a:rPr lang="en-US"/>
              <a:t> (CX)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7023F7E-7D03-4BA9-928E-993BD75B9386}"/>
              </a:ext>
            </a:extLst>
          </p:cNvPr>
          <p:cNvSpPr txBox="1"/>
          <p:nvPr/>
        </p:nvSpPr>
        <p:spPr>
          <a:xfrm>
            <a:off x="1384007" y="312420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Inclusive 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234E9F2-2DB2-47D3-B916-0E35F0BFE018}"/>
              </a:ext>
            </a:extLst>
          </p:cNvPr>
          <p:cNvSpPr txBox="1"/>
          <p:nvPr/>
        </p:nvSpPr>
        <p:spPr>
          <a:xfrm>
            <a:off x="1486309" y="5468961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Own commitments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1E6252B-5A77-4AB6-8956-8C9812B4D3CD}"/>
              </a:ext>
            </a:extLst>
          </p:cNvPr>
          <p:cNvSpPr txBox="1"/>
          <p:nvPr/>
        </p:nvSpPr>
        <p:spPr>
          <a:xfrm>
            <a:off x="4933567" y="3114363"/>
            <a:ext cx="21900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 err="1">
                <a:latin typeface="Arial" panose="020B0604020202020204" pitchFamily="34" charset="0"/>
                <a:cs typeface="Arial" panose="020B0604020202020204" pitchFamily="34" charset="0"/>
              </a:rPr>
              <a:t>Cirion</a:t>
            </a: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 Customer Community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05E9CA3-760F-4AB7-9010-C865915EB76C}"/>
              </a:ext>
            </a:extLst>
          </p:cNvPr>
          <p:cNvSpPr txBox="1"/>
          <p:nvPr/>
        </p:nvSpPr>
        <p:spPr>
          <a:xfrm>
            <a:off x="8856451" y="3124209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Online community 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FAC68D1-73FC-47EA-AA8C-9CCF9C161799}"/>
              </a:ext>
            </a:extLst>
          </p:cNvPr>
          <p:cNvSpPr txBox="1"/>
          <p:nvPr/>
        </p:nvSpPr>
        <p:spPr>
          <a:xfrm>
            <a:off x="5162503" y="5456713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Paid compensation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6E81E1D-FB6E-428E-9EE0-EC5D5F13BAF4}"/>
              </a:ext>
            </a:extLst>
          </p:cNvPr>
          <p:cNvSpPr txBox="1"/>
          <p:nvPr/>
        </p:nvSpPr>
        <p:spPr>
          <a:xfrm>
            <a:off x="8896413" y="5456714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Paid time-off</a:t>
            </a:r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0DB2E4D4-96A1-EABB-FFA9-E8D59C8ACB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45</a:t>
            </a:fld>
            <a:endParaRPr lang="pt-BR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6A2D518-A3B7-D0DC-C4D7-97EB57410F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9057" y="1781707"/>
            <a:ext cx="1634077" cy="137338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49D03F8-26C5-9ADC-CFAF-55385723FC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32653" y="1381809"/>
            <a:ext cx="1778000" cy="161868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0CD5F46-5733-A9C0-928F-498EFAB367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19867" y="1316288"/>
            <a:ext cx="1579164" cy="180792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459D9B1-1307-FD28-34FF-CFF0BE3CF9C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95015" y="4095919"/>
            <a:ext cx="962160" cy="129558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C11E26F-84C2-D121-9356-016DB7E8A10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75346" y="3938570"/>
            <a:ext cx="1441308" cy="1452931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43138A46-E065-D654-9630-A6C565B7072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21875" y="4032240"/>
            <a:ext cx="1704681" cy="1436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057140"/>
      </p:ext>
    </p:extLst>
  </p:cSld>
  <p:clrMapOvr>
    <a:masterClrMapping/>
  </p:clrMapOvr>
  <p:transition/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>
            <a:extLst>
              <a:ext uri="{FF2B5EF4-FFF2-40B4-BE49-F238E27FC236}">
                <a16:creationId xmlns:a16="http://schemas.microsoft.com/office/drawing/2014/main" id="{834A5DB8-4A62-42D3-A837-56C812041879}"/>
              </a:ext>
            </a:extLst>
          </p:cNvPr>
          <p:cNvSpPr txBox="1"/>
          <p:nvPr/>
        </p:nvSpPr>
        <p:spPr>
          <a:xfrm>
            <a:off x="5227290" y="3840044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Round tabl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611E7B6-1C5C-4513-BDE7-07FFCE8F5F49}"/>
              </a:ext>
            </a:extLst>
          </p:cNvPr>
          <p:cNvSpPr txBox="1"/>
          <p:nvPr/>
        </p:nvSpPr>
        <p:spPr>
          <a:xfrm>
            <a:off x="8713602" y="3840044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Wellness  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50FFFFD4-1E5A-4A4F-AB09-99819841E4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86834"/>
            <a:ext cx="10972800" cy="836084"/>
          </a:xfrm>
        </p:spPr>
        <p:txBody>
          <a:bodyPr>
            <a:normAutofit/>
          </a:bodyPr>
          <a:lstStyle/>
          <a:p>
            <a:r>
              <a:rPr lang="en-US"/>
              <a:t>RH / </a:t>
            </a:r>
            <a:r>
              <a:rPr lang="en-US" err="1"/>
              <a:t>Experiencia</a:t>
            </a:r>
            <a:r>
              <a:rPr lang="en-US"/>
              <a:t> del </a:t>
            </a:r>
            <a:r>
              <a:rPr lang="en-US" err="1"/>
              <a:t>Cliente</a:t>
            </a:r>
            <a:r>
              <a:rPr lang="en-US"/>
              <a:t> (CX)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60D96D93-54D8-FC96-BCB8-8A7D638AC0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pPr/>
              <a:t>46</a:t>
            </a:fld>
            <a:endParaRPr lang="pt-BR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60BC4F-C220-E443-6618-C34C0E60E3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45307" y="2403615"/>
            <a:ext cx="2101385" cy="131929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15BEC55-4C5E-75BA-EBF2-C5D1C06852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13601" y="2320289"/>
            <a:ext cx="1732197" cy="1478528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8515DD1C-7D22-8C3E-12D7-0F356B0A46C4}"/>
              </a:ext>
            </a:extLst>
          </p:cNvPr>
          <p:cNvSpPr txBox="1"/>
          <p:nvPr/>
        </p:nvSpPr>
        <p:spPr>
          <a:xfrm>
            <a:off x="1751938" y="3840044"/>
            <a:ext cx="1732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s-AR" sz="1200"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ommunity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C655972-E319-ED81-B816-EA335237B4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67343" y="2663022"/>
            <a:ext cx="2101386" cy="1059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225716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3F3EAC4-001A-9CA2-21AC-432F2D9476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/>
              <a:t>Herramientas	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251094F1-63AF-F550-107A-F8517BD6BB4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s-AR"/>
              <a:t>MAPAS</a:t>
            </a: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0AD28ADF-DDBC-E8FA-5357-413807D2ED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74636713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3F3EAC4-001A-9CA2-21AC-432F2D9476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/>
              <a:t>Herramientas	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251094F1-63AF-F550-107A-F8517BD6BB4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s-AR"/>
              <a:t>KPI-Matrix</a:t>
            </a: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0AD28ADF-DDBC-E8FA-5357-413807D2ED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62478340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3F3EAC4-001A-9CA2-21AC-432F2D9476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/>
              <a:t>Herramientas	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251094F1-63AF-F550-107A-F8517BD6BB4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s-AR" err="1"/>
              <a:t>PeeringDashboard</a:t>
            </a:r>
            <a:endParaRPr lang="es-AR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0AD28ADF-DDBC-E8FA-5357-413807D2ED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09130234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3F3EAC4-001A-9CA2-21AC-432F2D9476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/>
              <a:t>Herramientas	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251094F1-63AF-F550-107A-F8517BD6BB4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s-AR" err="1"/>
              <a:t>NetworkPath</a:t>
            </a:r>
            <a:endParaRPr lang="es-AR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0AD28ADF-DDBC-E8FA-5357-413807D2ED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32591662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8767BFE-E5B4-4D5C-8192-902264563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/>
              <a:t>Tutor de Diagnostico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7658F4D7-8DFC-B59D-24BC-0C0C5BFEBE1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5C57D0D2-6C35-88E0-7C10-41EA03C5F9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86E9D1-5D70-4295-8BC3-EE421546933E}" type="slidenum">
              <a:rPr lang="pt-BR" smtClean="0"/>
              <a:t>9</a:t>
            </a:fld>
            <a:endParaRPr lang="pt-BR"/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485BC382-40DA-966C-57D7-4D7CE7D474B4}"/>
              </a:ext>
            </a:extLst>
          </p:cNvPr>
          <p:cNvSpPr/>
          <p:nvPr/>
        </p:nvSpPr>
        <p:spPr>
          <a:xfrm>
            <a:off x="7670800" y="5571067"/>
            <a:ext cx="1168400" cy="7535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5217D9CA-FDD9-49CF-BACC-C13907534DCA}"/>
              </a:ext>
            </a:extLst>
          </p:cNvPr>
          <p:cNvSpPr/>
          <p:nvPr/>
        </p:nvSpPr>
        <p:spPr>
          <a:xfrm>
            <a:off x="9194800" y="5571067"/>
            <a:ext cx="1168400" cy="7535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A54C9B81-941C-694C-B560-4CB9CAB8DB7E}"/>
              </a:ext>
            </a:extLst>
          </p:cNvPr>
          <p:cNvSpPr/>
          <p:nvPr/>
        </p:nvSpPr>
        <p:spPr>
          <a:xfrm>
            <a:off x="10675668" y="5571066"/>
            <a:ext cx="1168400" cy="7535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120853448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ema do Office">
  <a:themeElements>
    <a:clrScheme name="Cirion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689"/>
      </a:accent1>
      <a:accent2>
        <a:srgbClr val="29B6FF"/>
      </a:accent2>
      <a:accent3>
        <a:srgbClr val="A5A5A5"/>
      </a:accent3>
      <a:accent4>
        <a:srgbClr val="EF2AC1"/>
      </a:accent4>
      <a:accent5>
        <a:srgbClr val="38D430"/>
      </a:accent5>
      <a:accent6>
        <a:srgbClr val="FFE800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Arial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FD6F7A005C773F408268EEBD952C28F9" ma:contentTypeVersion="12" ma:contentTypeDescription="Crear nuevo documento." ma:contentTypeScope="" ma:versionID="837a164f5ceb97aa01e2eb8d0d9a6fe8">
  <xsd:schema xmlns:xsd="http://www.w3.org/2001/XMLSchema" xmlns:xs="http://www.w3.org/2001/XMLSchema" xmlns:p="http://schemas.microsoft.com/office/2006/metadata/properties" xmlns:ns2="4f92f568-e09d-4260-b00e-6d179f3d8f8e" xmlns:ns3="917338c7-2f0f-457b-bc70-71737ab6b816" targetNamespace="http://schemas.microsoft.com/office/2006/metadata/properties" ma:root="true" ma:fieldsID="432cd23019d7a208b48ee380da6ca58e" ns2:_="" ns3:_="">
    <xsd:import namespace="4f92f568-e09d-4260-b00e-6d179f3d8f8e"/>
    <xsd:import namespace="917338c7-2f0f-457b-bc70-71737ab6b816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3:lcf76f155ced4ddcb4097134ff3c332f" minOccurs="0"/>
                <xsd:element ref="ns2:TaxCatchAll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92f568-e09d-4260-b00e-6d179f3d8f8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aaa83d27-936e-4509-8807-bfc0e2804dd5}" ma:internalName="TaxCatchAll" ma:showField="CatchAllData" ma:web="4f92f568-e09d-4260-b00e-6d179f3d8f8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17338c7-2f0f-457b-bc70-71737ab6b81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Etiquetas de imagen" ma:readOnly="false" ma:fieldId="{5cf76f15-5ced-4ddc-b409-7134ff3c332f}" ma:taxonomyMulti="true" ma:sspId="9afd5009-3f10-406a-9a82-0df89c42e2f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17338c7-2f0f-457b-bc70-71737ab6b816">
      <Terms xmlns="http://schemas.microsoft.com/office/infopath/2007/PartnerControls"/>
    </lcf76f155ced4ddcb4097134ff3c332f>
    <TaxCatchAll xmlns="4f92f568-e09d-4260-b00e-6d179f3d8f8e" xsi:nil="true"/>
  </documentManagement>
</p:properties>
</file>

<file path=customXml/itemProps1.xml><?xml version="1.0" encoding="utf-8"?>
<ds:datastoreItem xmlns:ds="http://schemas.openxmlformats.org/officeDocument/2006/customXml" ds:itemID="{89263B52-4FA5-4CB1-A050-B3B4492804A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f92f568-e09d-4260-b00e-6d179f3d8f8e"/>
    <ds:schemaRef ds:uri="917338c7-2f0f-457b-bc70-71737ab6b81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4EE347F-3F02-4696-B7A4-60561D3F407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CE34D70-9983-4356-9E63-87A173AC221E}">
  <ds:schemaRefs>
    <ds:schemaRef ds:uri="1938dcc5-4b01-4a43-9485-028a7e372511"/>
    <ds:schemaRef ds:uri="a6ccc3fe-4b59-42a8-bdb6-09444b62dbd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917338c7-2f0f-457b-bc70-71737ab6b816"/>
    <ds:schemaRef ds:uri="4f92f568-e09d-4260-b00e-6d179f3d8f8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Panorámica</PresentationFormat>
  <Slides>46</Slides>
  <Notes>11</Notes>
  <HiddenSlides>1</HiddenSlide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diapositiva</vt:lpstr>
      </vt:variant>
      <vt:variant>
        <vt:i4>46</vt:i4>
      </vt:variant>
    </vt:vector>
  </HeadingPairs>
  <TitlesOfParts>
    <vt:vector size="47" baseType="lpstr">
      <vt:lpstr>1_Tema do Office</vt:lpstr>
      <vt:lpstr>OPSENG Proyectos</vt:lpstr>
      <vt:lpstr>Network Activation – IP/Metro </vt:lpstr>
      <vt:lpstr>RAS</vt:lpstr>
      <vt:lpstr>PARAGON </vt:lpstr>
      <vt:lpstr>Herramientas </vt:lpstr>
      <vt:lpstr>Herramientas </vt:lpstr>
      <vt:lpstr>Herramientas </vt:lpstr>
      <vt:lpstr>Herramientas </vt:lpstr>
      <vt:lpstr>Tutor de Diagnostico</vt:lpstr>
      <vt:lpstr>Relevamiento de BW</vt:lpstr>
      <vt:lpstr>Legacy</vt:lpstr>
      <vt:lpstr>BGP MOSS &lt;&gt; DCN</vt:lpstr>
      <vt:lpstr>CarveOut</vt:lpstr>
      <vt:lpstr>Pilares de Soluciones</vt:lpstr>
      <vt:lpstr>Soluciones de la plataforma</vt:lpstr>
      <vt:lpstr>Negocios/ Ventas</vt:lpstr>
      <vt:lpstr>Negocios/ Ventas</vt:lpstr>
      <vt:lpstr>Negocios/ Ventas</vt:lpstr>
      <vt:lpstr>Gente</vt:lpstr>
      <vt:lpstr>Gente</vt:lpstr>
      <vt:lpstr>Productos / Conceptos</vt:lpstr>
      <vt:lpstr>Productos / Conceptos</vt:lpstr>
      <vt:lpstr>Productos / Conceptos</vt:lpstr>
      <vt:lpstr>Productos / Conceptos</vt:lpstr>
      <vt:lpstr>Productos / Conceptos</vt:lpstr>
      <vt:lpstr>Productos / Conceptos</vt:lpstr>
      <vt:lpstr>Productos / Conceptos</vt:lpstr>
      <vt:lpstr>Productos / Conceptos</vt:lpstr>
      <vt:lpstr>Productos / Conceptos</vt:lpstr>
      <vt:lpstr>Productos / Conceptos</vt:lpstr>
      <vt:lpstr>Productos / Conceptos</vt:lpstr>
      <vt:lpstr>Productos / Conceptos</vt:lpstr>
      <vt:lpstr>Productos / Conceptos</vt:lpstr>
      <vt:lpstr>Productos / Conceptos</vt:lpstr>
      <vt:lpstr>Productos / Conceptos</vt:lpstr>
      <vt:lpstr>Productos / Conceptos</vt:lpstr>
      <vt:lpstr>Productos / Conceptos</vt:lpstr>
      <vt:lpstr>Productos / Conceptos</vt:lpstr>
      <vt:lpstr>Dispositivos</vt:lpstr>
      <vt:lpstr>Dispositivos</vt:lpstr>
      <vt:lpstr>Sitios</vt:lpstr>
      <vt:lpstr>Sitios</vt:lpstr>
      <vt:lpstr>Sitios</vt:lpstr>
      <vt:lpstr>RH / Experiencia del Cliente (CX)</vt:lpstr>
      <vt:lpstr>RH / Experiencia del Cliente (CX)</vt:lpstr>
      <vt:lpstr>RH / Experiencia del Cliente (CX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bitda Growth</dc:title>
  <dc:creator>Andolina, Chiara</dc:creator>
  <cp:revision>2</cp:revision>
  <dcterms:created xsi:type="dcterms:W3CDTF">2022-08-26T21:21:44Z</dcterms:created>
  <dcterms:modified xsi:type="dcterms:W3CDTF">2024-04-30T12:35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D6F7A005C773F408268EEBD952C28F9</vt:lpwstr>
  </property>
  <property fmtid="{D5CDD505-2E9C-101B-9397-08002B2CF9AE}" pid="3" name="MediaServiceImageTags">
    <vt:lpwstr/>
  </property>
</Properties>
</file>